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53"/>
  </p:notesMasterIdLst>
  <p:handoutMasterIdLst>
    <p:handoutMasterId r:id="rId54"/>
  </p:handoutMasterIdLst>
  <p:sldIdLst>
    <p:sldId id="331" r:id="rId5"/>
    <p:sldId id="305" r:id="rId6"/>
    <p:sldId id="281" r:id="rId7"/>
    <p:sldId id="339" r:id="rId8"/>
    <p:sldId id="341" r:id="rId9"/>
    <p:sldId id="306" r:id="rId10"/>
    <p:sldId id="282" r:id="rId11"/>
    <p:sldId id="288" r:id="rId12"/>
    <p:sldId id="293" r:id="rId13"/>
    <p:sldId id="294" r:id="rId14"/>
    <p:sldId id="298" r:id="rId15"/>
    <p:sldId id="330" r:id="rId16"/>
    <p:sldId id="335" r:id="rId17"/>
    <p:sldId id="337" r:id="rId18"/>
    <p:sldId id="310" r:id="rId19"/>
    <p:sldId id="311" r:id="rId20"/>
    <p:sldId id="318" r:id="rId21"/>
    <p:sldId id="315" r:id="rId22"/>
    <p:sldId id="307" r:id="rId23"/>
    <p:sldId id="319" r:id="rId24"/>
    <p:sldId id="283" r:id="rId25"/>
    <p:sldId id="287" r:id="rId26"/>
    <p:sldId id="340" r:id="rId27"/>
    <p:sldId id="289" r:id="rId28"/>
    <p:sldId id="326" r:id="rId29"/>
    <p:sldId id="316" r:id="rId30"/>
    <p:sldId id="308" r:id="rId31"/>
    <p:sldId id="286" r:id="rId32"/>
    <p:sldId id="338" r:id="rId33"/>
    <p:sldId id="284" r:id="rId34"/>
    <p:sldId id="343" r:id="rId35"/>
    <p:sldId id="303" r:id="rId36"/>
    <p:sldId id="314" r:id="rId37"/>
    <p:sldId id="342" r:id="rId38"/>
    <p:sldId id="292" r:id="rId39"/>
    <p:sldId id="321" r:id="rId40"/>
    <p:sldId id="322" r:id="rId41"/>
    <p:sldId id="323" r:id="rId42"/>
    <p:sldId id="324" r:id="rId43"/>
    <p:sldId id="296" r:id="rId44"/>
    <p:sldId id="295" r:id="rId45"/>
    <p:sldId id="327" r:id="rId46"/>
    <p:sldId id="325" r:id="rId47"/>
    <p:sldId id="333" r:id="rId48"/>
    <p:sldId id="332" r:id="rId49"/>
    <p:sldId id="334" r:id="rId50"/>
    <p:sldId id="313" r:id="rId51"/>
    <p:sldId id="290" r:id="rId52"/>
  </p:sldIdLst>
  <p:sldSz cx="9144000" cy="6858000" type="screen4x3"/>
  <p:notesSz cx="7010400" cy="9296400"/>
  <p:custDataLst>
    <p:tags r:id="rId5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Candice Hwang" initials="CH" lastIdx="0" clrIdx="1">
    <p:extLst/>
  </p:cmAuthor>
  <p:cmAuthor id="2" name="Meghan O'Connell" initials="MO" lastIdx="7" clrIdx="2">
    <p:extLst/>
  </p:cmAuthor>
  <p:cmAuthor id="3" name="Paul Wilson" initials="" lastIdx="28" clrIdx="3"/>
  <p:cmAuthor id="4" name="Helen Saxenian" initials="HS" lastIdx="4" clrIdx="4">
    <p:extLst/>
  </p:cmAuthor>
  <p:cmAuthor id="5" name="Author" initials="A" lastIdx="16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E32726"/>
    <a:srgbClr val="000000"/>
    <a:srgbClr val="636466"/>
    <a:srgbClr val="313231"/>
    <a:srgbClr val="00A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03" autoAdjust="0"/>
    <p:restoredTop sz="92415" autoAdjust="0"/>
  </p:normalViewPr>
  <p:slideViewPr>
    <p:cSldViewPr snapToGrid="0">
      <p:cViewPr varScale="1">
        <p:scale>
          <a:sx n="59" d="100"/>
          <a:sy n="59" d="100"/>
        </p:scale>
        <p:origin x="82" y="437"/>
      </p:cViewPr>
      <p:guideLst>
        <p:guide orient="horz" pos="2160"/>
        <p:guide pos="2880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notesMaster" Target="notesMasters/notesMaster1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61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commentAuthors" Target="commentAuthor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[Data_Extract_From_World_Development_Indicators (2).xlsx]Data'!$D$2</c:f>
              <c:strCache>
                <c:ptCount val="1"/>
                <c:pt idx="0">
                  <c:v>LMIC Average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1"/>
              </a:solidFill>
              <a:ln>
                <a:noFill/>
              </a:ln>
              <a:effectLst/>
            </c:spPr>
          </c:marker>
          <c:cat>
            <c:numRef>
              <c:f>'[Data_Extract_From_World_Development_Indicators (2).xlsx]Data'!$E$1:$G$1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'[Data_Extract_From_World_Development_Indicators (2).xlsx]Data'!$E$2:$G$2</c:f>
              <c:numCache>
                <c:formatCode>0.00</c:formatCode>
                <c:ptCount val="3"/>
                <c:pt idx="0">
                  <c:v>6.9104358572316382</c:v>
                </c:pt>
                <c:pt idx="1">
                  <c:v>6.9133111464604324</c:v>
                </c:pt>
                <c:pt idx="2">
                  <c:v>6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71E-4257-AD9C-FB896AE3B46F}"/>
            </c:ext>
          </c:extLst>
        </c:ser>
        <c:ser>
          <c:idx val="1"/>
          <c:order val="1"/>
          <c:tx>
            <c:strRef>
              <c:f>'[Data_Extract_From_World_Development_Indicators (2).xlsx]Data'!$D$3</c:f>
              <c:strCache>
                <c:ptCount val="1"/>
                <c:pt idx="0">
                  <c:v>Neighbor 1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2"/>
              </a:solidFill>
              <a:ln>
                <a:noFill/>
              </a:ln>
              <a:effectLst/>
            </c:spPr>
          </c:marker>
          <c:cat>
            <c:numRef>
              <c:f>'[Data_Extract_From_World_Development_Indicators (2).xlsx]Data'!$E$1:$G$1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'[Data_Extract_From_World_Development_Indicators (2).xlsx]Data'!$E$3:$G$3</c:f>
              <c:numCache>
                <c:formatCode>0.00</c:formatCode>
                <c:ptCount val="3"/>
                <c:pt idx="0">
                  <c:v>6.0933767200000002</c:v>
                </c:pt>
                <c:pt idx="1">
                  <c:v>6.0290047900000001</c:v>
                </c:pt>
                <c:pt idx="2">
                  <c:v>5.73006505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71E-4257-AD9C-FB896AE3B46F}"/>
            </c:ext>
          </c:extLst>
        </c:ser>
        <c:ser>
          <c:idx val="2"/>
          <c:order val="2"/>
          <c:tx>
            <c:strRef>
              <c:f>'[Data_Extract_From_World_Development_Indicators (2).xlsx]Data'!$D$4</c:f>
              <c:strCache>
                <c:ptCount val="1"/>
                <c:pt idx="0">
                  <c:v>Our country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3"/>
              </a:solidFill>
              <a:ln>
                <a:noFill/>
              </a:ln>
              <a:effectLst/>
            </c:spPr>
          </c:marker>
          <c:cat>
            <c:numRef>
              <c:f>'[Data_Extract_From_World_Development_Indicators (2).xlsx]Data'!$E$1:$G$1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'[Data_Extract_From_World_Development_Indicators (2).xlsx]Data'!$E$4:$G$4</c:f>
              <c:numCache>
                <c:formatCode>0.00</c:formatCode>
                <c:ptCount val="3"/>
                <c:pt idx="0">
                  <c:v>3.44296158</c:v>
                </c:pt>
                <c:pt idx="1">
                  <c:v>3.44296158</c:v>
                </c:pt>
                <c:pt idx="2">
                  <c:v>3.44296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71E-4257-AD9C-FB896AE3B46F}"/>
            </c:ext>
          </c:extLst>
        </c:ser>
        <c:ser>
          <c:idx val="3"/>
          <c:order val="3"/>
          <c:tx>
            <c:strRef>
              <c:f>'[Data_Extract_From_World_Development_Indicators (2).xlsx]Data'!$D$5</c:f>
              <c:strCache>
                <c:ptCount val="1"/>
                <c:pt idx="0">
                  <c:v>Neighbor 2</c:v>
                </c:pt>
              </c:strCache>
            </c:strRef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4"/>
              </a:solidFill>
              <a:ln>
                <a:noFill/>
              </a:ln>
              <a:effectLst/>
            </c:spPr>
          </c:marker>
          <c:cat>
            <c:numRef>
              <c:f>'[Data_Extract_From_World_Development_Indicators (2).xlsx]Data'!$E$1:$G$1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'[Data_Extract_From_World_Development_Indicators (2).xlsx]Data'!$E$5:$G$5</c:f>
              <c:numCache>
                <c:formatCode>0.00</c:formatCode>
                <c:ptCount val="3"/>
                <c:pt idx="0">
                  <c:v>12.659274910000001</c:v>
                </c:pt>
                <c:pt idx="1">
                  <c:v>13.190241</c:v>
                </c:pt>
                <c:pt idx="2">
                  <c:v>14.221601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71E-4257-AD9C-FB896AE3B4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29832872"/>
        <c:axId val="-2118272584"/>
      </c:lineChart>
      <c:catAx>
        <c:axId val="-2129832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8272584"/>
        <c:crosses val="autoZero"/>
        <c:auto val="1"/>
        <c:lblAlgn val="ctr"/>
        <c:lblOffset val="100"/>
        <c:noMultiLvlLbl val="0"/>
      </c:catAx>
      <c:valAx>
        <c:axId val="-2118272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9832872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Data_Extract_From_World_Development_Indicators (6).xlsx]Data'!$A$2:$A$5</c:f>
              <c:strCache>
                <c:ptCount val="4"/>
                <c:pt idx="0">
                  <c:v>Lower middle income country average</c:v>
                </c:pt>
                <c:pt idx="1">
                  <c:v>Our country</c:v>
                </c:pt>
                <c:pt idx="2">
                  <c:v>Neighbor 1</c:v>
                </c:pt>
                <c:pt idx="3">
                  <c:v>Neighbor 2</c:v>
                </c:pt>
              </c:strCache>
            </c:strRef>
          </c:cat>
          <c:val>
            <c:numRef>
              <c:f>'[Data_Extract_From_World_Development_Indicators (6).xlsx]Data'!$B$2:$B$5</c:f>
              <c:numCache>
                <c:formatCode>_("$"* #,##0_);_("$"* \(#,##0\);_("$"* "-"??_);_(@_)</c:formatCode>
                <c:ptCount val="4"/>
                <c:pt idx="0">
                  <c:v>34.176801768865133</c:v>
                </c:pt>
                <c:pt idx="1">
                  <c:v>16.458741075895631</c:v>
                </c:pt>
                <c:pt idx="2">
                  <c:v>37.556972898503979</c:v>
                </c:pt>
                <c:pt idx="3">
                  <c:v>76.9616578969336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A3-47AE-90A6-423F100D97A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2146827048"/>
        <c:axId val="2053755784"/>
      </c:barChart>
      <c:catAx>
        <c:axId val="2146827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755784"/>
        <c:crosses val="autoZero"/>
        <c:auto val="1"/>
        <c:lblAlgn val="ctr"/>
        <c:lblOffset val="100"/>
        <c:noMultiLvlLbl val="0"/>
      </c:catAx>
      <c:valAx>
        <c:axId val="2053755784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_(&quot;$&quot;* #,##0_);_(&quot;$&quot;* \(#,##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6827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117</cdr:x>
      <cdr:y>0.3054</cdr:y>
    </cdr:from>
    <cdr:to>
      <cdr:x>0.89001</cdr:x>
      <cdr:y>0.5184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D42863E7-03E1-4963-B22B-AE9E8A7C0276}"/>
            </a:ext>
          </a:extLst>
        </cdr:cNvPr>
        <cdr:cNvSpPr txBox="1"/>
      </cdr:nvSpPr>
      <cdr:spPr>
        <a:xfrm xmlns:a="http://schemas.openxmlformats.org/drawingml/2006/main">
          <a:off x="4535927" y="932299"/>
          <a:ext cx="2788477" cy="6505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600" dirty="0"/>
        </a:p>
      </cdr:txBody>
    </cdr:sp>
  </cdr:relSizeAnchor>
  <cdr:relSizeAnchor xmlns:cdr="http://schemas.openxmlformats.org/drawingml/2006/chartDrawing">
    <cdr:from>
      <cdr:x>0.13382</cdr:x>
      <cdr:y>0.06617</cdr:y>
    </cdr:from>
    <cdr:to>
      <cdr:x>0.37336</cdr:x>
      <cdr:y>0.16181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FE85D56C-4582-42B0-B8C3-480EF3092F1B}"/>
            </a:ext>
          </a:extLst>
        </cdr:cNvPr>
        <cdr:cNvSpPr txBox="1"/>
      </cdr:nvSpPr>
      <cdr:spPr>
        <a:xfrm xmlns:a="http://schemas.openxmlformats.org/drawingml/2006/main">
          <a:off x="1101271" y="202000"/>
          <a:ext cx="1971293" cy="29195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dirty="0">
              <a:latin typeface="Sylfaen" panose="010A0502050306030303" pitchFamily="18" charset="0"/>
            </a:rPr>
            <a:t>Соседняя страна </a:t>
          </a:r>
          <a:r>
            <a:rPr lang="en-US" sz="1600" dirty="0">
              <a:latin typeface="Sylfaen" panose="010A0502050306030303" pitchFamily="18" charset="0"/>
            </a:rPr>
            <a:t>1</a:t>
          </a:r>
        </a:p>
        <a:p xmlns:a="http://schemas.openxmlformats.org/drawingml/2006/main">
          <a:endParaRPr lang="en-US" sz="1100" dirty="0">
            <a:latin typeface="Sylfaen" panose="010A0502050306030303" pitchFamily="18" charset="0"/>
          </a:endParaRPr>
        </a:p>
      </cdr:txBody>
    </cdr:sp>
  </cdr:relSizeAnchor>
  <cdr:relSizeAnchor xmlns:cdr="http://schemas.openxmlformats.org/drawingml/2006/chartDrawing">
    <cdr:from>
      <cdr:x>0.28651</cdr:x>
      <cdr:y>0.58482</cdr:y>
    </cdr:from>
    <cdr:to>
      <cdr:x>0.60142</cdr:x>
      <cdr:y>0.69286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B56DD441-D94C-4329-AC16-02BE05431548}"/>
            </a:ext>
          </a:extLst>
        </cdr:cNvPr>
        <cdr:cNvSpPr txBox="1"/>
      </cdr:nvSpPr>
      <cdr:spPr>
        <a:xfrm xmlns:a="http://schemas.openxmlformats.org/drawingml/2006/main">
          <a:off x="2357853" y="1785317"/>
          <a:ext cx="2591593" cy="3298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dirty="0">
              <a:latin typeface="Sylfaen" panose="010A0502050306030303" pitchFamily="18" charset="0"/>
            </a:rPr>
            <a:t>Соседняя страна </a:t>
          </a:r>
          <a:r>
            <a:rPr lang="en-US" sz="1600" dirty="0">
              <a:latin typeface="Sylfaen" panose="010A0502050306030303" pitchFamily="18" charset="0"/>
            </a:rPr>
            <a:t>2</a:t>
          </a:r>
        </a:p>
        <a:p xmlns:a="http://schemas.openxmlformats.org/drawingml/2006/main">
          <a:endParaRPr lang="en-US" sz="1100" dirty="0">
            <a:latin typeface="Sylfaen" panose="010A0502050306030303" pitchFamily="18" charset="0"/>
          </a:endParaRPr>
        </a:p>
      </cdr:txBody>
    </cdr:sp>
  </cdr:relSizeAnchor>
  <cdr:relSizeAnchor xmlns:cdr="http://schemas.openxmlformats.org/drawingml/2006/chartDrawing">
    <cdr:from>
      <cdr:x>0.45302</cdr:x>
      <cdr:y>0.58482</cdr:y>
    </cdr:from>
    <cdr:to>
      <cdr:x>0.46122</cdr:x>
      <cdr:y>0.63508</cdr:y>
    </cdr:to>
    <cdr:cxnSp macro="">
      <cdr:nvCxnSpPr>
        <cdr:cNvPr id="6" name="Straight Arrow Connector 5">
          <a:extLst xmlns:a="http://schemas.openxmlformats.org/drawingml/2006/main">
            <a:ext uri="{FF2B5EF4-FFF2-40B4-BE49-F238E27FC236}">
              <a16:creationId xmlns:a16="http://schemas.microsoft.com/office/drawing/2014/main" id="{B41D8A95-4BCF-42D7-9C6B-34E332C1CDB0}"/>
            </a:ext>
          </a:extLst>
        </cdr:cNvPr>
        <cdr:cNvCxnSpPr/>
      </cdr:nvCxnSpPr>
      <cdr:spPr>
        <a:xfrm xmlns:a="http://schemas.openxmlformats.org/drawingml/2006/main" flipV="1">
          <a:off x="3728174" y="1785330"/>
          <a:ext cx="67507" cy="153423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5413</cdr:x>
      <cdr:y>0.44008</cdr:y>
    </cdr:from>
    <cdr:to>
      <cdr:x>0.76249</cdr:x>
      <cdr:y>0.47828</cdr:y>
    </cdr:to>
    <cdr:cxnSp macro="">
      <cdr:nvCxnSpPr>
        <cdr:cNvPr id="8" name="Straight Arrow Connector 7">
          <a:extLst xmlns:a="http://schemas.openxmlformats.org/drawingml/2006/main">
            <a:ext uri="{FF2B5EF4-FFF2-40B4-BE49-F238E27FC236}">
              <a16:creationId xmlns:a16="http://schemas.microsoft.com/office/drawing/2014/main" id="{F1A8ED5B-4BF0-4420-9B3A-F505D31D8586}"/>
            </a:ext>
          </a:extLst>
        </cdr:cNvPr>
        <cdr:cNvCxnSpPr/>
      </cdr:nvCxnSpPr>
      <cdr:spPr>
        <a:xfrm xmlns:a="http://schemas.openxmlformats.org/drawingml/2006/main" flipH="1">
          <a:off x="6206192" y="1343472"/>
          <a:ext cx="68801" cy="116602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4862</cdr:x>
      <cdr:y>0.12246</cdr:y>
    </cdr:from>
    <cdr:to>
      <cdr:x>0.36055</cdr:x>
      <cdr:y>0.13854</cdr:y>
    </cdr:to>
    <cdr:cxnSp macro="">
      <cdr:nvCxnSpPr>
        <cdr:cNvPr id="10" name="Straight Arrow Connector 9">
          <a:extLst xmlns:a="http://schemas.openxmlformats.org/drawingml/2006/main">
            <a:ext uri="{FF2B5EF4-FFF2-40B4-BE49-F238E27FC236}">
              <a16:creationId xmlns:a16="http://schemas.microsoft.com/office/drawing/2014/main" id="{6294F907-3947-4090-A728-71169EA7B66B}"/>
            </a:ext>
          </a:extLst>
        </cdr:cNvPr>
        <cdr:cNvCxnSpPr/>
      </cdr:nvCxnSpPr>
      <cdr:spPr>
        <a:xfrm xmlns:a="http://schemas.openxmlformats.org/drawingml/2006/main">
          <a:off x="2869007" y="373840"/>
          <a:ext cx="98190" cy="49096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9927</cdr:x>
      <cdr:y>0.31114</cdr:y>
    </cdr:from>
    <cdr:to>
      <cdr:x>0.30802</cdr:x>
      <cdr:y>0.41196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1639884" y="949840"/>
          <a:ext cx="895032" cy="307777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>
            <a:lumMod val="40000"/>
            <a:lumOff val="60000"/>
          </a:schemeClr>
        </a:solidFill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dirty="0">
              <a:latin typeface="Sylfaen" panose="010A0502050306030303" pitchFamily="18" charset="0"/>
            </a:rPr>
            <a:t>    Сосед </a:t>
          </a:r>
          <a:endParaRPr lang="en-US" sz="1400" dirty="0"/>
        </a:p>
      </cdr:txBody>
    </cdr:sp>
  </cdr:relSizeAnchor>
  <cdr:relSizeAnchor xmlns:cdr="http://schemas.openxmlformats.org/drawingml/2006/chartDrawing">
    <cdr:from>
      <cdr:x>0.16805</cdr:x>
      <cdr:y>0.52792</cdr:y>
    </cdr:from>
    <cdr:to>
      <cdr:x>0.32326</cdr:x>
      <cdr:y>0.62874</cdr:y>
    </cdr:to>
    <cdr:sp macro="" textlink="">
      <cdr:nvSpPr>
        <cdr:cNvPr id="3" name="Rectangle 2"/>
        <cdr:cNvSpPr/>
      </cdr:nvSpPr>
      <cdr:spPr>
        <a:xfrm xmlns:a="http://schemas.openxmlformats.org/drawingml/2006/main">
          <a:off x="1382964" y="1611611"/>
          <a:ext cx="1277369" cy="307777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>
            <a:lumMod val="40000"/>
            <a:lumOff val="60000"/>
          </a:schemeClr>
        </a:solidFill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dirty="0">
              <a:latin typeface="Sylfaen" panose="010A0502050306030303" pitchFamily="18" charset="0"/>
            </a:rPr>
            <a:t>Наша страна </a:t>
          </a:r>
          <a:endParaRPr lang="en-US" sz="1400" dirty="0"/>
        </a:p>
      </cdr:txBody>
    </cdr:sp>
  </cdr:relSizeAnchor>
  <cdr:relSizeAnchor xmlns:cdr="http://schemas.openxmlformats.org/drawingml/2006/chartDrawing">
    <cdr:from>
      <cdr:x>0.17422</cdr:x>
      <cdr:y>0.54456</cdr:y>
    </cdr:from>
    <cdr:to>
      <cdr:x>0.32944</cdr:x>
      <cdr:y>0.64538</cdr:y>
    </cdr:to>
    <cdr:sp macro="" textlink="">
      <cdr:nvSpPr>
        <cdr:cNvPr id="4" name="Rectangle 3"/>
        <cdr:cNvSpPr/>
      </cdr:nvSpPr>
      <cdr:spPr>
        <a:xfrm xmlns:a="http://schemas.openxmlformats.org/drawingml/2006/main">
          <a:off x="1433764" y="1662411"/>
          <a:ext cx="1277369" cy="307777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>
            <a:lumMod val="40000"/>
            <a:lumOff val="60000"/>
          </a:schemeClr>
        </a:solidFill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dirty="0">
              <a:latin typeface="Sylfaen" panose="010A0502050306030303" pitchFamily="18" charset="0"/>
            </a:rPr>
            <a:t>Наша страна </a:t>
          </a:r>
          <a:endParaRPr lang="en-US" sz="14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28352C-296D-42CA-A463-2F57CA5FD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3"/>
            <a:ext cx="3037840" cy="46672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BA4262-8931-415F-B1B5-714E4C9050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3"/>
            <a:ext cx="3037840" cy="46672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877759-450C-42D8-80EB-C7C116B7354F}" type="datetimeFigureOut">
              <a:rPr lang="en-US" smtClean="0"/>
              <a:t>12/15/201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A24C-AFCB-4A6C-8554-AA6AFB4F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6"/>
            <a:ext cx="3037840" cy="46672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D771F-EE24-4F8A-A41F-EFDA7574D8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676"/>
            <a:ext cx="3037840" cy="46672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38770-CBDE-4243-BE4F-2124BDA91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1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12/1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246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433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228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041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5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5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83FBE-BDBE-4E27-B50F-44D4FCD41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485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" name="think-cell Slide" r:id="rId8" imgW="530" imgH="531" progId="TCLayout.ActiveDocument.1">
                  <p:embed/>
                </p:oleObj>
              </mc:Choice>
              <mc:Fallback>
                <p:oleObj name="think-cell Slide" r:id="rId8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ho.int/mediacentre/factsheets/fs286/en/" TargetMode="External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apps.who.int/nha/database/Select/Indicators/en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apps.who.int/nha/database/Home/Index/en" TargetMode="Externa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://who.int/immunization/newsroom/global_immunization_data_july_2014.pdf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immunizationfinancing.org/en/immunization-fundamentals/universal-health-coverage-and-immunization-financing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openknowledge.worldbank.org/handle/10986/6440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86/605033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nc.cdc.gov/eid/article/4/4/98-0404_article" TargetMode="External"/><Relationship Id="rId2" Type="http://schemas.openxmlformats.org/officeDocument/2006/relationships/hyperlink" Target="https://www.cdc.gov/vaccines/vac-gen/why.ht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cbi.nlm.nih.gov/pubmed/26055296" TargetMode="External"/><Relationship Id="rId5" Type="http://schemas.openxmlformats.org/officeDocument/2006/relationships/hyperlink" Target="https://www.ncbi.nlm.nih.gov/pubmed/12867830" TargetMode="External"/><Relationship Id="rId4" Type="http://schemas.openxmlformats.org/officeDocument/2006/relationships/hyperlink" Target="https://www.ncbi.nlm.nih.gov/pubmed/8483621" TargetMode="Externa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uro.who.int/en/health-topics/disease-prevention/vaccines-and-immunization/publications/vaccination-and-trust-library-1" TargetMode="Externa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ho.int/campaigns/immunization-week/2017/infographic/en/" TargetMode="External"/><Relationship Id="rId2" Type="http://schemas.openxmlformats.org/officeDocument/2006/relationships/hyperlink" Target="http://polioeradication.org/polio-today/polio-now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who.int/csr/disease/smallpox/en/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ho.int/csr/disease/smallpox/en/" TargetMode="Externa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2339" y="2531011"/>
            <a:ext cx="7924800" cy="16002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Рассказывая историю - почему инвестирование в иммунизацию является приоритетом для нашей страны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42339" y="4236539"/>
            <a:ext cx="6810571" cy="737121"/>
          </a:xfrm>
        </p:spPr>
        <p:txBody>
          <a:bodyPr>
            <a:normAutofit fontScale="70000" lnSpcReduction="2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Часть </a:t>
            </a:r>
            <a:r>
              <a:rPr lang="en-US" dirty="0">
                <a:latin typeface="Sylfaen" panose="010A0502050306030303" pitchFamily="18" charset="0"/>
              </a:rPr>
              <a:t>1</a:t>
            </a:r>
            <a:r>
              <a:rPr lang="ru-RU" dirty="0">
                <a:latin typeface="Sylfaen" panose="010A0502050306030303" pitchFamily="18" charset="0"/>
              </a:rPr>
              <a:t>: Примеры ключевых тезисов и вспомогательных данных для различных инвестиционных потребностей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942339" y="5447665"/>
            <a:ext cx="7467390" cy="737121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имечание: эта презентация в значительной степени опирается на материалы из Библиотеки по поддержке иммунизации ВОЗ, а также на другие работы. На этом собрании будут доступны копии материалов из Библиотеки по поддержке иммунизации.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019300" y="1345634"/>
            <a:ext cx="1935480" cy="46166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1200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70477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5599C4-0FE2-4DF6-AAD6-7576869EB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имер: вакцина против кори привела к 99%-ному сокращению случаев кори по сравнению с периодом до вакцинации</a:t>
            </a:r>
            <a:endParaRPr lang="en-US" dirty="0">
              <a:latin typeface="Sylfaen" panose="010A0502050306030303" pitchFamily="18" charset="0"/>
            </a:endParaRPr>
          </a:p>
        </p:txBody>
      </p:sp>
      <p:pic>
        <p:nvPicPr>
          <p:cNvPr id="7" name="Content Placeholder 6" descr="A person looking at the camera&#10;&#10;Description generated with high confidence">
            <a:extLst>
              <a:ext uri="{FF2B5EF4-FFF2-40B4-BE49-F238E27FC236}">
                <a16:creationId xmlns:a16="http://schemas.microsoft.com/office/drawing/2014/main" id="{EA684984-0877-4D8D-B7BA-BA6AFC86F2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6443" y="1289898"/>
            <a:ext cx="2935822" cy="4502795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51A31E7-E019-4CB6-B7EB-CDA962A51D7B}"/>
              </a:ext>
            </a:extLst>
          </p:cNvPr>
          <p:cNvSpPr txBox="1"/>
          <p:nvPr/>
        </p:nvSpPr>
        <p:spPr>
          <a:xfrm>
            <a:off x="2354094" y="6034813"/>
            <a:ext cx="46760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100" dirty="0">
                <a:latin typeface="Sylfaen" panose="010A0502050306030303" pitchFamily="18" charset="0"/>
              </a:rPr>
              <a:t>Фото: Ребенок с сыпью от кори</a:t>
            </a:r>
            <a:endParaRPr lang="en-US" sz="1100" dirty="0">
              <a:latin typeface="Sylfaen" panose="010A0502050306030303" pitchFamily="18" charset="0"/>
            </a:endParaRPr>
          </a:p>
          <a:p>
            <a:r>
              <a:rPr lang="ru-RU" sz="1100" dirty="0">
                <a:latin typeface="Sylfaen" panose="010A0502050306030303" pitchFamily="18" charset="0"/>
              </a:rPr>
              <a:t>Источник фотографии </a:t>
            </a:r>
            <a:r>
              <a:rPr lang="en-US" sz="1100" dirty="0">
                <a:latin typeface="Sylfaen" panose="010A0502050306030303" pitchFamily="18" charset="0"/>
              </a:rPr>
              <a:t>CDC/NIP/</a:t>
            </a:r>
            <a:r>
              <a:rPr lang="ru-RU" sz="1100" dirty="0">
                <a:latin typeface="Sylfaen" panose="010A0502050306030303" pitchFamily="18" charset="0"/>
              </a:rPr>
              <a:t>Барбара Райс</a:t>
            </a:r>
            <a:r>
              <a:rPr lang="en-US" sz="1100" dirty="0">
                <a:latin typeface="Sylfaen" panose="010A0502050306030303" pitchFamily="18" charset="0"/>
              </a:rPr>
              <a:t>, </a:t>
            </a:r>
            <a:r>
              <a:rPr lang="ru-RU" sz="1100" dirty="0">
                <a:latin typeface="Sylfaen" panose="010A0502050306030303" pitchFamily="18" charset="0"/>
              </a:rPr>
              <a:t>общественное достояние, через </a:t>
            </a:r>
            <a:r>
              <a:rPr lang="ru-RU" sz="1100" dirty="0" err="1">
                <a:latin typeface="Sylfaen" panose="010A0502050306030303" pitchFamily="18" charset="0"/>
              </a:rPr>
              <a:t>Wikimedia</a:t>
            </a:r>
            <a:r>
              <a:rPr lang="ru-RU" sz="1100" dirty="0">
                <a:latin typeface="Sylfaen" panose="010A0502050306030303" pitchFamily="18" charset="0"/>
              </a:rPr>
              <a:t> </a:t>
            </a:r>
            <a:r>
              <a:rPr lang="ru-RU" sz="1100" dirty="0" err="1">
                <a:latin typeface="Sylfaen" panose="010A0502050306030303" pitchFamily="18" charset="0"/>
              </a:rPr>
              <a:t>Commons</a:t>
            </a:r>
            <a:r>
              <a:rPr lang="ru-RU" sz="1100" dirty="0">
                <a:latin typeface="Sylfaen" panose="010A0502050306030303" pitchFamily="18" charset="0"/>
              </a:rPr>
              <a:t>: </a:t>
            </a:r>
            <a:r>
              <a:rPr lang="en-US" sz="1100" dirty="0">
                <a:latin typeface="Sylfaen" panose="010A0502050306030303" pitchFamily="18" charset="0"/>
                <a:hlinkClick r:id="rId3"/>
              </a:rPr>
              <a:t>http://www.who.int/mediacentre/factsheets/fs286/en/</a:t>
            </a:r>
            <a:endParaRPr lang="en-US" sz="1100" dirty="0">
              <a:latin typeface="Sylfaen" panose="010A0502050306030303" pitchFamily="18" charset="0"/>
            </a:endParaRPr>
          </a:p>
          <a:p>
            <a:endParaRPr lang="en-US" sz="1100" dirty="0">
              <a:latin typeface="Sylfaen" panose="010A0502050306030303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473D94-B7AC-45A2-9CEF-B3DED57AD162}"/>
              </a:ext>
            </a:extLst>
          </p:cNvPr>
          <p:cNvSpPr txBox="1"/>
          <p:nvPr/>
        </p:nvSpPr>
        <p:spPr>
          <a:xfrm>
            <a:off x="297256" y="1066379"/>
            <a:ext cx="4985793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dirty="0">
                <a:latin typeface="Sylfaen" panose="010A0502050306030303" pitchFamily="18" charset="0"/>
              </a:rPr>
              <a:t>Корь - очень заразная и серьезная болезнь.</a:t>
            </a:r>
          </a:p>
          <a:p>
            <a:endParaRPr lang="en-US" dirty="0">
              <a:latin typeface="Sylfaen" panose="010A0502050306030303" pitchFamily="18" charset="0"/>
            </a:endParaRPr>
          </a:p>
          <a:p>
            <a:r>
              <a:rPr lang="ru-RU" sz="1900" dirty="0">
                <a:latin typeface="Sylfaen" panose="010A0502050306030303" pitchFamily="18" charset="0"/>
              </a:rPr>
              <a:t>До введения вакцины против кори в 1963 году и широкомасштабной вакцинации корь являлась причиной примерно 2,6 миллиона смертей в год.</a:t>
            </a:r>
          </a:p>
          <a:p>
            <a:r>
              <a:rPr lang="en-US" sz="1900" dirty="0">
                <a:latin typeface="Sylfaen" panose="010A0502050306030303" pitchFamily="18" charset="0"/>
              </a:rPr>
              <a:t> </a:t>
            </a:r>
          </a:p>
          <a:p>
            <a:r>
              <a:rPr lang="ru-RU" sz="1900" dirty="0">
                <a:latin typeface="Sylfaen" panose="010A0502050306030303" pitchFamily="18" charset="0"/>
              </a:rPr>
              <a:t>Вакцина против кори безопасна, эффективна и недорога.</a:t>
            </a:r>
          </a:p>
          <a:p>
            <a:r>
              <a:rPr lang="en-US" sz="1900" dirty="0">
                <a:latin typeface="Sylfaen" panose="010A0502050306030303" pitchFamily="18" charset="0"/>
              </a:rPr>
              <a:t> </a:t>
            </a:r>
          </a:p>
          <a:p>
            <a:r>
              <a:rPr lang="ru-RU" sz="1900" dirty="0">
                <a:latin typeface="Sylfaen" panose="010A0502050306030303" pitchFamily="18" charset="0"/>
              </a:rPr>
              <a:t>Несмотря на существование вакцины, низкий уровень охвата в некоторых странах привел к тому, что корь по-прежнему остается одной из ведущих причин смерти детей раннего возраста во всем мире.</a:t>
            </a:r>
          </a:p>
          <a:p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39055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74049-C052-4F43-8B15-EDF8EC5F1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Пример: случаи полиомиелита упали на 99% с 1988 года</a:t>
            </a:r>
            <a:endParaRPr lang="en-US" dirty="0">
              <a:latin typeface="Sylfaen" panose="010A0502050306030303" pitchFamily="18" charset="0"/>
            </a:endParaRPr>
          </a:p>
        </p:txBody>
      </p:sp>
      <p:pic>
        <p:nvPicPr>
          <p:cNvPr id="7" name="Content Placeholder 6" descr="Handicapped children who survived polio, Freetown, Sierra Leone">
            <a:extLst>
              <a:ext uri="{FF2B5EF4-FFF2-40B4-BE49-F238E27FC236}">
                <a16:creationId xmlns:a16="http://schemas.microsoft.com/office/drawing/2014/main" id="{3D5C11CE-33B7-4D4B-A35F-EBAE8AE1BEB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86"/>
          <a:stretch/>
        </p:blipFill>
        <p:spPr>
          <a:xfrm>
            <a:off x="457200" y="2484662"/>
            <a:ext cx="3431980" cy="2713659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8F6EC0A-1782-407D-B14B-31B4F0A34C58}"/>
              </a:ext>
            </a:extLst>
          </p:cNvPr>
          <p:cNvSpPr txBox="1"/>
          <p:nvPr/>
        </p:nvSpPr>
        <p:spPr>
          <a:xfrm>
            <a:off x="1921212" y="5885697"/>
            <a:ext cx="70684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000" dirty="0">
                <a:latin typeface="Sylfaen" panose="010A0502050306030303" pitchFamily="18" charset="0"/>
              </a:rPr>
              <a:t>Фото 1: Выжившие после заболевания полиомиелитом во Фритауне, Сьерра-Леоне. Источник фотографии: ВОЗ, через Коалицию по иммунизации</a:t>
            </a:r>
            <a:endParaRPr lang="en-US" sz="1000" dirty="0">
              <a:latin typeface="Sylfaen" panose="010A0502050306030303" pitchFamily="18" charset="0"/>
            </a:endParaRPr>
          </a:p>
          <a:p>
            <a:pPr>
              <a:spcAft>
                <a:spcPts val="600"/>
              </a:spcAft>
            </a:pPr>
            <a:r>
              <a:rPr lang="ru-RU" sz="1000" dirty="0">
                <a:latin typeface="Sylfaen" panose="010A0502050306030303" pitchFamily="18" charset="0"/>
              </a:rPr>
              <a:t>Фото 2: Ребенок с деформированной из-за полиомиелита ногой. Источник фотографии</a:t>
            </a:r>
            <a:r>
              <a:rPr lang="en-US" sz="1000" dirty="0">
                <a:latin typeface="Sylfaen" panose="010A0502050306030303" pitchFamily="18" charset="0"/>
              </a:rPr>
              <a:t>: </a:t>
            </a:r>
            <a:r>
              <a:rPr lang="ru-RU" sz="1000" dirty="0">
                <a:latin typeface="Sylfaen" panose="010A0502050306030303" pitchFamily="18" charset="0"/>
              </a:rPr>
              <a:t>ВОЗ, через Закон о иммунизации</a:t>
            </a:r>
            <a:r>
              <a:rPr lang="en-US" sz="1000" dirty="0">
                <a:latin typeface="Sylfaen" panose="010A0502050306030303" pitchFamily="18" charset="0"/>
              </a:rPr>
              <a:t>.  </a:t>
            </a:r>
          </a:p>
          <a:p>
            <a:pPr>
              <a:spcAft>
                <a:spcPts val="600"/>
              </a:spcAft>
            </a:pPr>
            <a:r>
              <a:rPr lang="ru-RU" sz="1000" dirty="0">
                <a:latin typeface="Sylfaen" panose="010A0502050306030303" pitchFamily="18" charset="0"/>
              </a:rPr>
              <a:t>Фото 3: Мальчик с параличом, вызванным инфекцией полиомиелита. Источник фотографии</a:t>
            </a:r>
            <a:r>
              <a:rPr lang="en-US" sz="1000" dirty="0">
                <a:latin typeface="Sylfaen" panose="010A0502050306030303" pitchFamily="18" charset="0"/>
              </a:rPr>
              <a:t>: </a:t>
            </a:r>
            <a:r>
              <a:rPr lang="ru-RU" sz="1000" dirty="0">
                <a:latin typeface="Sylfaen" panose="010A0502050306030303" pitchFamily="18" charset="0"/>
              </a:rPr>
              <a:t>Европейское региональное бюро ВОЗ, через Коалицию по иммунизации. </a:t>
            </a:r>
            <a:endParaRPr lang="en-US" sz="1000" dirty="0">
              <a:latin typeface="Sylfaen" panose="010A0502050306030303" pitchFamily="18" charset="0"/>
            </a:endParaRPr>
          </a:p>
        </p:txBody>
      </p:sp>
      <p:pic>
        <p:nvPicPr>
          <p:cNvPr id="10" name="Picture 9" descr="Child with deformed leg due to polio">
            <a:extLst>
              <a:ext uri="{FF2B5EF4-FFF2-40B4-BE49-F238E27FC236}">
                <a16:creationId xmlns:a16="http://schemas.microsoft.com/office/drawing/2014/main" id="{1FAA9738-D7EF-4EB8-9AA3-091D9E6CB2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861" y="2484417"/>
            <a:ext cx="2148529" cy="3222794"/>
          </a:xfrm>
          <a:prstGeom prst="rect">
            <a:avLst/>
          </a:prstGeom>
        </p:spPr>
      </p:pic>
      <p:pic>
        <p:nvPicPr>
          <p:cNvPr id="13" name="Picture 12" descr="A person standing on a sidewalk&#10;&#10;Description generated with very high confidence">
            <a:extLst>
              <a:ext uri="{FF2B5EF4-FFF2-40B4-BE49-F238E27FC236}">
                <a16:creationId xmlns:a16="http://schemas.microsoft.com/office/drawing/2014/main" id="{B97CDCAB-E295-4DA4-8FA0-E9E90355FD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071" y="2484417"/>
            <a:ext cx="1996997" cy="321801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4FA784D-D1EC-4AA6-91EC-130E86EAF056}"/>
              </a:ext>
            </a:extLst>
          </p:cNvPr>
          <p:cNvSpPr txBox="1"/>
          <p:nvPr/>
        </p:nvSpPr>
        <p:spPr>
          <a:xfrm>
            <a:off x="389642" y="826074"/>
            <a:ext cx="811286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dirty="0">
                <a:latin typeface="Sylfaen" panose="010A0502050306030303" pitchFamily="18" charset="0"/>
              </a:rPr>
              <a:t>Полиомиелит является высоко инфекционным заболеванием, вызываемым вирусом. В основном им заболевают дети в возрасте до 5 лет. Один из 200 инфекционных случаев приводит к необратимому параличу. Лечения не существует, возможна только профилактика. Партнеры и страны работают над искоренением полиомиелита.</a:t>
            </a:r>
            <a:r>
              <a:rPr lang="en-US" sz="1900" dirty="0">
                <a:latin typeface="Sylfaen" panose="010A0502050306030303" pitchFamily="18" charset="0"/>
              </a:rPr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88346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815" y="274638"/>
            <a:ext cx="7674286" cy="1130399"/>
          </a:xfrm>
        </p:spPr>
        <p:txBody>
          <a:bodyPr>
            <a:noAutofit/>
          </a:bodyPr>
          <a:lstStyle/>
          <a:p>
            <a:r>
              <a:rPr lang="ru-RU" sz="1800" dirty="0">
                <a:latin typeface="Sylfaen" panose="010A0502050306030303" pitchFamily="18" charset="0"/>
              </a:rPr>
              <a:t>Использование данных для поддержки придания приоритетного значения здравоохранению в рамках государственного бюджета и придания приоритетного значения ПМСП в рамках здравоохранения</a:t>
            </a:r>
            <a:endParaRPr lang="en-US" sz="1800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97390649"/>
              </p:ext>
            </p:extLst>
          </p:nvPr>
        </p:nvGraphicFramePr>
        <p:xfrm>
          <a:off x="457200" y="1269029"/>
          <a:ext cx="8229600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7593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4282007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отребность в данных по странам</a:t>
                      </a:r>
                      <a:endParaRPr lang="en-US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ример анализа</a:t>
                      </a:r>
                      <a:endParaRPr lang="en-US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828860">
                <a:tc>
                  <a:txBody>
                    <a:bodyPr/>
                    <a:lstStyle/>
                    <a:p>
                      <a:r>
                        <a:rPr lang="ru-RU" sz="1600" b="0" dirty="0">
                          <a:latin typeface="Sylfaen" panose="010A0502050306030303" pitchFamily="18" charset="0"/>
                        </a:rPr>
                        <a:t>Доля общих государственных расходов на МЗ из бюджета текущего года и предыдущих лет</a:t>
                      </a:r>
                      <a:endParaRPr lang="en-US" sz="1600" b="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Sylfaen" panose="010A0502050306030303" pitchFamily="18" charset="0"/>
                        </a:rPr>
                        <a:t>Увеличивается ли цифра со временем, стабильна ли она, или уменьшается? Абуджи                                                                                                                          Близка ли она к цели, составляющей 15% государственных расходов на здравоохранение?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701639"/>
                  </a:ext>
                </a:extLst>
              </a:tr>
              <a:tr h="472440">
                <a:tc>
                  <a:txBody>
                    <a:bodyPr/>
                    <a:lstStyle/>
                    <a:p>
                      <a:r>
                        <a:rPr lang="ru-RU" sz="1600" b="0" dirty="0">
                          <a:latin typeface="Sylfaen" panose="010A0502050306030303" pitchFamily="18" charset="0"/>
                        </a:rPr>
                        <a:t>Доля общего бюджета МЗ,</a:t>
                      </a:r>
                      <a:r>
                        <a:rPr lang="ru-RU" sz="1600" b="0" baseline="0" dirty="0">
                          <a:latin typeface="Sylfaen" panose="010A0502050306030303" pitchFamily="18" charset="0"/>
                        </a:rPr>
                        <a:t> выделяемая</a:t>
                      </a:r>
                      <a:r>
                        <a:rPr lang="ru-RU" sz="1600" b="0" dirty="0">
                          <a:latin typeface="Sylfaen" panose="010A0502050306030303" pitchFamily="18" charset="0"/>
                        </a:rPr>
                        <a:t> на ПМСП (то, как измерить этот показатель, будет зависеть от того, как будет организован ваш бюджет)</a:t>
                      </a:r>
                      <a:endParaRPr lang="en-US" sz="1600" b="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Увеличивается ли эта цифра со временем, стабильна ли она, или уменьшается?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840242"/>
                  </a:ext>
                </a:extLst>
              </a:tr>
              <a:tr h="472440">
                <a:tc>
                  <a:txBody>
                    <a:bodyPr/>
                    <a:lstStyle/>
                    <a:p>
                      <a:r>
                        <a:rPr lang="ru-RU" sz="1600" b="0" dirty="0">
                          <a:latin typeface="Sylfaen" panose="010A0502050306030303" pitchFamily="18" charset="0"/>
                        </a:rPr>
                        <a:t>База данных ВОЗ о расходах на здравоохранение</a:t>
                      </a:r>
                      <a:r>
                        <a:rPr lang="en-US" sz="1600" b="0" dirty="0">
                          <a:latin typeface="Sylfaen" panose="010A0502050306030303" pitchFamily="18" charset="0"/>
                        </a:rPr>
                        <a:t>. </a:t>
                      </a:r>
                      <a:r>
                        <a:rPr lang="en-US" sz="1600" b="0" dirty="0">
                          <a:latin typeface="Sylfaen" panose="010A0502050306030303" pitchFamily="18" charset="0"/>
                          <a:hlinkClick r:id="rId2"/>
                        </a:rPr>
                        <a:t>http://apps.who.int/nha/database/Select/Indicators/en</a:t>
                      </a:r>
                      <a:endParaRPr lang="en-US" sz="1600" b="0" dirty="0">
                        <a:latin typeface="Sylfaen" panose="010A0502050306030303" pitchFamily="18" charset="0"/>
                      </a:endParaRPr>
                    </a:p>
                    <a:p>
                      <a:endParaRPr lang="en-US" sz="1600" b="0" dirty="0">
                        <a:latin typeface="Sylfaen" panose="010A0502050306030303" pitchFamily="18" charset="0"/>
                      </a:endParaRPr>
                    </a:p>
                    <a:p>
                      <a:r>
                        <a:rPr lang="ru-RU" sz="1600" b="0" dirty="0">
                          <a:latin typeface="Sylfaen" panose="010A0502050306030303" pitchFamily="18" charset="0"/>
                        </a:rPr>
                        <a:t>Загрузите «Общие расходы правительства на здравоохранение (GGHE) в виде % от общих расходов правительства (GGE) для стран, которые вы хотите изучить</a:t>
                      </a:r>
                      <a:endParaRPr lang="en-US" sz="1600" b="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Какова наша доля государственных расходов на здравоохранение по сравнению со странами-партнерами?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0545105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2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8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980200" y="9782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317995" y="648419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0741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C12248-941C-4A80-BF47-4FEC9F289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26593" cy="1143000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ллюстрация: «Наша страна отстает по инвестированию в здравоохранение»</a:t>
            </a:r>
            <a:endParaRPr lang="en-US" sz="2200" i="1" dirty="0">
              <a:latin typeface="Sylfaen" panose="010A0502050306030303" pitchFamily="18" charset="0"/>
            </a:endParaRP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F3155F1C-D86F-404A-B1A5-62CEC39AC7A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02248639"/>
              </p:ext>
            </p:extLst>
          </p:nvPr>
        </p:nvGraphicFramePr>
        <p:xfrm>
          <a:off x="763335" y="2491750"/>
          <a:ext cx="8229600" cy="3052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2B1DF1-E458-4717-B479-EB476B3519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75368"/>
            <a:ext cx="8229600" cy="1202387"/>
          </a:xfrm>
        </p:spPr>
        <p:txBody>
          <a:bodyPr>
            <a:noAutofit/>
          </a:bodyPr>
          <a:lstStyle/>
          <a:p>
            <a:r>
              <a:rPr lang="ru-RU" sz="1500" i="1" dirty="0">
                <a:latin typeface="Sylfaen" panose="010A0502050306030303" pitchFamily="18" charset="0"/>
              </a:rPr>
              <a:t>Аргумент в пользу инвестиций: доля государственных расходов на здравоохранение в нашей стране в процентах от общих государственных расходов низка: почти половина среднего арифметического показателя для всех УССПП (LMIC ) и намного меньше, чем в наших соседних странах</a:t>
            </a:r>
            <a:endParaRPr lang="en-US" sz="1500" i="1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D29E01-47B7-4904-A681-09B9EA56B6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3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FE54C2-1F41-4F20-9D3D-1A50316061A2}"/>
              </a:ext>
            </a:extLst>
          </p:cNvPr>
          <p:cNvSpPr/>
          <p:nvPr/>
        </p:nvSpPr>
        <p:spPr>
          <a:xfrm>
            <a:off x="1964825" y="6036915"/>
            <a:ext cx="59239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Sylfaen" panose="010A0502050306030303" pitchFamily="18" charset="0"/>
              </a:rPr>
              <a:t>Источник</a:t>
            </a:r>
            <a:r>
              <a:rPr lang="en-US" sz="1400" dirty="0">
                <a:latin typeface="Sylfaen" panose="010A0502050306030303" pitchFamily="18" charset="0"/>
              </a:rPr>
              <a:t>:  </a:t>
            </a:r>
            <a:r>
              <a:rPr lang="en-US" sz="1400" dirty="0">
                <a:latin typeface="Sylfaen" panose="010A0502050306030303" pitchFamily="18" charset="0"/>
                <a:hlinkClick r:id="rId3"/>
              </a:rPr>
              <a:t>http://apps.who.int/nha/database/Home/Index/en</a:t>
            </a:r>
            <a:r>
              <a:rPr lang="ru-RU" sz="1400" dirty="0">
                <a:latin typeface="Sylfaen" panose="010A0502050306030303" pitchFamily="18" charset="0"/>
              </a:rPr>
              <a:t> </a:t>
            </a:r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DC446C-33F7-45B5-AE8C-75DA27078FEA}"/>
              </a:ext>
            </a:extLst>
          </p:cNvPr>
          <p:cNvSpPr txBox="1"/>
          <p:nvPr/>
        </p:nvSpPr>
        <p:spPr>
          <a:xfrm>
            <a:off x="2179929" y="4927593"/>
            <a:ext cx="15584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Sylfaen" panose="010A0502050306030303" pitchFamily="18" charset="0"/>
              </a:rPr>
              <a:t>Наша страна</a:t>
            </a:r>
            <a:endParaRPr lang="en-US" sz="1600" b="1" dirty="0">
              <a:latin typeface="Sylfaen" panose="010A0502050306030303" pitchFamily="18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1099D97-31DB-44C6-8AE8-2EB6DDC6CB2A}"/>
              </a:ext>
            </a:extLst>
          </p:cNvPr>
          <p:cNvCxnSpPr/>
          <p:nvPr/>
        </p:nvCxnSpPr>
        <p:spPr>
          <a:xfrm flipV="1">
            <a:off x="3472782" y="4712801"/>
            <a:ext cx="159560" cy="4295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D20E668-C3D0-4AD0-80B2-DDE6DB06C5BC}"/>
              </a:ext>
            </a:extLst>
          </p:cNvPr>
          <p:cNvSpPr txBox="1"/>
          <p:nvPr/>
        </p:nvSpPr>
        <p:spPr>
          <a:xfrm>
            <a:off x="209337" y="2491750"/>
            <a:ext cx="738664" cy="284027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ru-RU" sz="1200" dirty="0">
                <a:latin typeface="Sylfaen" panose="010A0502050306030303" pitchFamily="18" charset="0"/>
              </a:rPr>
              <a:t>Государственные расходы на здравоохранение в процентах от общих государственных расходов</a:t>
            </a:r>
            <a:endParaRPr lang="en-US" sz="1200" dirty="0">
              <a:latin typeface="Sylfaen" panose="010A0502050306030303" pitchFamily="18" charset="0"/>
            </a:endParaRPr>
          </a:p>
        </p:txBody>
      </p:sp>
      <p:sp>
        <p:nvSpPr>
          <p:cNvPr id="13" name="Star: 6 Points 12">
            <a:extLst>
              <a:ext uri="{FF2B5EF4-FFF2-40B4-BE49-F238E27FC236}">
                <a16:creationId xmlns:a16="http://schemas.microsoft.com/office/drawing/2014/main" id="{B95872AD-E16E-40C4-8601-94F18357015D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16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2937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418305" y="3182112"/>
            <a:ext cx="30431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Sylfaen" panose="010A0502050306030303" pitchFamily="18" charset="0"/>
              </a:rPr>
              <a:t>Средний  показатель</a:t>
            </a:r>
            <a:r>
              <a:rPr lang="en-US" sz="1600" dirty="0">
                <a:latin typeface="Sylfaen" panose="010A0502050306030303" pitchFamily="18" charset="0"/>
              </a:rPr>
              <a:t> </a:t>
            </a:r>
            <a:r>
              <a:rPr lang="ru-RU" sz="1600" dirty="0">
                <a:latin typeface="Sylfaen" panose="010A0502050306030303" pitchFamily="18" charset="0"/>
              </a:rPr>
              <a:t>страны с</a:t>
            </a:r>
            <a:r>
              <a:rPr lang="en-US" sz="1600" dirty="0">
                <a:latin typeface="Sylfaen" panose="010A0502050306030303" pitchFamily="18" charset="0"/>
              </a:rPr>
              <a:t> доходами ниже среднего уровня</a:t>
            </a:r>
          </a:p>
        </p:txBody>
      </p:sp>
    </p:spTree>
    <p:extLst>
      <p:ext uri="{BB962C8B-B14F-4D97-AF65-F5344CB8AC3E}">
        <p14:creationId xmlns:p14="http://schemas.microsoft.com/office/powerpoint/2010/main" val="37456005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866329-C078-4BEE-9ED6-7DEBDB95F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74638"/>
            <a:ext cx="7366276" cy="1143000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ллюстрация: «Наша страна отстает по инвестированию в здравоохранение»</a:t>
            </a:r>
            <a:endParaRPr lang="en-US" sz="2200" i="1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AE3C40E-D3AA-48D6-866F-D320A3838C6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91690033"/>
              </p:ext>
            </p:extLst>
          </p:nvPr>
        </p:nvGraphicFramePr>
        <p:xfrm>
          <a:off x="516577" y="2583126"/>
          <a:ext cx="8229600" cy="3052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AEC159-CCA0-4460-BE67-F8F4582F3A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756" y="2079409"/>
            <a:ext cx="9038904" cy="609600"/>
          </a:xfrm>
        </p:spPr>
        <p:txBody>
          <a:bodyPr>
            <a:noAutofit/>
          </a:bodyPr>
          <a:lstStyle/>
          <a:p>
            <a:r>
              <a:rPr lang="ru-RU" sz="1800" dirty="0">
                <a:latin typeface="Sylfaen" panose="010A0502050306030303" pitchFamily="18" charset="0"/>
              </a:rPr>
              <a:t>Государственные расходы на здравоохранение на душу населения, 2014 год</a:t>
            </a:r>
            <a:endParaRPr lang="en-US" sz="1800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CED189-2722-473C-81E3-7052288695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4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672CEB-5F1E-4BE4-A651-47C0539849DD}"/>
              </a:ext>
            </a:extLst>
          </p:cNvPr>
          <p:cNvSpPr/>
          <p:nvPr/>
        </p:nvSpPr>
        <p:spPr>
          <a:xfrm>
            <a:off x="1899541" y="6036915"/>
            <a:ext cx="59239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Sylfaen" panose="010A0502050306030303" pitchFamily="18" charset="0"/>
              </a:rPr>
              <a:t>Источник </a:t>
            </a:r>
            <a:r>
              <a:rPr lang="en-US" sz="1400" dirty="0">
                <a:latin typeface="Sylfaen" panose="010A0502050306030303" pitchFamily="18" charset="0"/>
              </a:rPr>
              <a:t>:  http://apps.who.int/nha/database/Home/Index/e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35B548E-5B8E-41DF-9295-FB5544FA15EF}"/>
              </a:ext>
            </a:extLst>
          </p:cNvPr>
          <p:cNvSpPr txBox="1">
            <a:spLocks/>
          </p:cNvSpPr>
          <p:nvPr/>
        </p:nvSpPr>
        <p:spPr>
          <a:xfrm>
            <a:off x="457200" y="1417638"/>
            <a:ext cx="8229600" cy="609600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None/>
              <a:defRPr sz="2200" b="1" i="0" kern="1200" baseline="0">
                <a:solidFill>
                  <a:srgbClr val="31323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sz="2800" b="0" i="0" kern="1200">
                <a:solidFill>
                  <a:schemeClr val="accent3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lang="en-US" sz="4400" b="0" i="0" kern="1200" dirty="0">
                <a:solidFill>
                  <a:schemeClr val="accent3"/>
                </a:solidFill>
                <a:latin typeface="Arial"/>
                <a:ea typeface="+mj-ea"/>
                <a:cs typeface="Arial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sz="2000" b="0" i="0" kern="1200">
                <a:solidFill>
                  <a:schemeClr val="accent3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sz="2000" b="0" i="0" kern="1200">
                <a:solidFill>
                  <a:schemeClr val="accent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i="1" dirty="0">
                <a:latin typeface="Sylfaen" panose="010A0502050306030303" pitchFamily="18" charset="0"/>
              </a:rPr>
              <a:t>Аргумент в пользу инвестиций - Государственные расходы на здравоохранение в нашей стране составляют менее половины среднего показателя по странам со средним уровнем дохода и гораздо меньше показателя наших основных соседей.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11" name="Star: 6 Points 10">
            <a:extLst>
              <a:ext uri="{FF2B5EF4-FFF2-40B4-BE49-F238E27FC236}">
                <a16:creationId xmlns:a16="http://schemas.microsoft.com/office/drawing/2014/main" id="{11D421A9-C905-45E3-9D1F-B227E7911483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12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8760" y="18164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56461" y="2862461"/>
            <a:ext cx="895032" cy="30777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latin typeface="Sylfaen" panose="010A0502050306030303" pitchFamily="18" charset="0"/>
              </a:rPr>
              <a:t>    Сосед </a:t>
            </a:r>
            <a:endParaRPr lang="en-US" sz="1400" dirty="0"/>
          </a:p>
        </p:txBody>
      </p:sp>
      <p:sp>
        <p:nvSpPr>
          <p:cNvPr id="13" name="Rectangle 12"/>
          <p:cNvSpPr/>
          <p:nvPr/>
        </p:nvSpPr>
        <p:spPr>
          <a:xfrm>
            <a:off x="537209" y="4765544"/>
            <a:ext cx="2644141" cy="64633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1200" i="1" dirty="0">
                <a:latin typeface="Sylfaen" panose="010A0502050306030303" pitchFamily="18" charset="0"/>
              </a:rPr>
              <a:t>Средний показатель по странам со средним</a:t>
            </a:r>
          </a:p>
          <a:p>
            <a:pPr algn="r"/>
            <a:r>
              <a:rPr lang="ru-RU" sz="1200" i="1" dirty="0">
                <a:latin typeface="Sylfaen" panose="010A0502050306030303" pitchFamily="18" charset="0"/>
              </a:rPr>
              <a:t> уровнем дохода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635511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76340" cy="1143000"/>
          </a:xfrm>
        </p:spPr>
        <p:txBody>
          <a:bodyPr>
            <a:normAutofit/>
          </a:bodyPr>
          <a:lstStyle/>
          <a:p>
            <a:r>
              <a:rPr lang="ru-RU" sz="2000" dirty="0">
                <a:latin typeface="Sylfaen" panose="010A0502050306030303" pitchFamily="18" charset="0"/>
              </a:rPr>
              <a:t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a:t>
            </a:r>
            <a:endParaRPr lang="en-US" sz="2000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52455094"/>
              </p:ext>
            </p:extLst>
          </p:nvPr>
        </p:nvGraphicFramePr>
        <p:xfrm>
          <a:off x="364814" y="1355846"/>
          <a:ext cx="8410234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99653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910581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ример гипотетического анализа</a:t>
                      </a:r>
                      <a:r>
                        <a:rPr lang="en-US" dirty="0">
                          <a:latin typeface="Sylfaen" panose="010A0502050306030303" pitchFamily="18" charset="0"/>
                        </a:rPr>
                        <a:t>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828860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Sylfaen" panose="010A0502050306030303" pitchFamily="18" charset="0"/>
                        </a:rPr>
                        <a:t>Охват иммунизацией, число выживших детей годовалого возраста, охват по районам</a:t>
                      </a:r>
                      <a:endParaRPr lang="en-US" sz="14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Наша страна добилась значительных успехов в области иммунизации, охватив 87%. Это составляет 1 035 000 полностью иммунизированных детей*. Но нужно сделать еще больше... есть 155 000 не-иммунизированных детей. Существует также неравномерный охват, при котором лишь 45% детей в XX округе полностью иммунизированы. * измерено покрытием DTP3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701639"/>
                  </a:ext>
                </a:extLst>
              </a:tr>
              <a:tr h="382523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Sylfaen" panose="010A0502050306030303" pitchFamily="18" charset="0"/>
                        </a:rPr>
                        <a:t>Амбулаторные приёмы и госпитализация по заболеваниям, предотвращаемым вакцинацией, со средними расходами на амбулаторное посещение и госпитализацию</a:t>
                      </a:r>
                      <a:endParaRPr lang="en-US" sz="14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Вакцинация не только улучшает здоровье, но и может привести к значительной экономии расходов на здравоохранение. Например, наше введение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ротавирусной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вакцины, согласно оценке: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  <a:p>
                      <a:endParaRPr lang="en-US" sz="1400" dirty="0">
                        <a:latin typeface="Sylfaen" panose="010A0502050306030303" pitchFamily="18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Sylfaen" panose="010A0502050306030303" pitchFamily="18" charset="0"/>
                        </a:rPr>
                        <a:t>Сократило число амбулаторных визитов по причине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диарейных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заболеваний с 605,000 до 190,000 в год. При оценочной стоимости в 27 долларов США на амбулаторный визит это большая экономия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400" dirty="0">
                        <a:latin typeface="Sylfaen" panose="010A0502050306030303" pitchFamily="18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Sylfaen" panose="010A0502050306030303" pitchFamily="18" charset="0"/>
                        </a:rPr>
                        <a:t>Сократило число госпитализации с </a:t>
                      </a:r>
                      <a:r>
                        <a:rPr lang="en-US" sz="1400" dirty="0">
                          <a:latin typeface="Sylfaen" panose="010A0502050306030303" pitchFamily="18" charset="0"/>
                        </a:rPr>
                        <a:t>16,090 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до </a:t>
                      </a:r>
                      <a:r>
                        <a:rPr lang="en-US" sz="1400" dirty="0">
                          <a:latin typeface="Sylfaen" panose="010A0502050306030303" pitchFamily="18" charset="0"/>
                        </a:rPr>
                        <a:t> 2,250 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в год. При оценочной стоимости в 211 долларов США на посещение это дает дополнительную экономию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dirty="0">
                        <a:latin typeface="Sylfaen" panose="010A0502050306030303" pitchFamily="18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Sylfaen" panose="010A0502050306030303" pitchFamily="18" charset="0"/>
                        </a:rPr>
                        <a:t>Общая экономия на госпитализации и амбулаторных посещениях: 15 млн. Долларов США ежегодно.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  <a:p>
                      <a:endParaRPr lang="en-US" sz="14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840242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68472" y="6093569"/>
            <a:ext cx="2133600" cy="365125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5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9" name="Star: 6 Points 8">
            <a:extLst>
              <a:ext uri="{FF2B5EF4-FFF2-40B4-BE49-F238E27FC236}">
                <a16:creationId xmlns:a16="http://schemas.microsoft.com/office/drawing/2014/main" id="{F9158093-634E-4B9A-AD58-83E8F7FE4451}"/>
              </a:ext>
            </a:extLst>
          </p:cNvPr>
          <p:cNvSpPr/>
          <p:nvPr/>
        </p:nvSpPr>
        <p:spPr>
          <a:xfrm>
            <a:off x="8020435" y="116052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8033540" y="12068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0109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91933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a:t>
            </a:r>
            <a:endParaRPr lang="en-US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77518167"/>
              </p:ext>
            </p:extLst>
          </p:nvPr>
        </p:nvGraphicFramePr>
        <p:xfrm>
          <a:off x="457200" y="1598398"/>
          <a:ext cx="8256218" cy="44946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1160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7861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Пример гипотетического анализа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771748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Sylfaen" panose="010A0502050306030303" pitchFamily="18" charset="0"/>
                        </a:rPr>
                        <a:t>Смертность от болезней, предотвращаемых вакцинацией по времени</a:t>
                      </a:r>
                      <a:endParaRPr lang="en-US" sz="14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С нашей программой иммунизации смертность от кори снизилась на 80% (смертность на 100,000 чел.) с 1990 года.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2608205"/>
                  </a:ext>
                </a:extLst>
              </a:tr>
              <a:tr h="1672120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Sylfaen" panose="010A0502050306030303" pitchFamily="18" charset="0"/>
                        </a:rPr>
                        <a:t>Смертность от болезней, предотвращаемых вакциной, которая еще не была введена, прогнозируемый охвата вакцинацией, эффективность вакцинации</a:t>
                      </a:r>
                      <a:endParaRPr lang="en-US" sz="14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С введением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ротавирусной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вакцины мы ожидаем сокращения количества смертей, вызванных диареей, на XX, а число госпитализаций - на YY.</a:t>
                      </a:r>
                      <a:br>
                        <a:rPr lang="en-US" sz="1400" dirty="0">
                          <a:latin typeface="Sylfaen" panose="010A0502050306030303" pitchFamily="18" charset="0"/>
                        </a:rPr>
                      </a:br>
                      <a:br>
                        <a:rPr lang="en-US" sz="1400" dirty="0">
                          <a:latin typeface="Sylfaen" panose="010A0502050306030303" pitchFamily="18" charset="0"/>
                        </a:rPr>
                      </a:br>
                      <a:r>
                        <a:rPr lang="ru-RU" sz="140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С введением PCV мы 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ожидаем сокращения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количества случаев пневмонии и инвазивных заболеваний и смертей на 33%, а соответствующие больничные</a:t>
                      </a:r>
                      <a:r>
                        <a:rPr lang="ru-RU" sz="1400" baseline="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расходы - на YY</a:t>
                      </a:r>
                      <a:endParaRPr lang="en-US" sz="1400" dirty="0">
                        <a:solidFill>
                          <a:schemeClr val="tx1"/>
                        </a:solidFill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3544202"/>
                  </a:ext>
                </a:extLst>
              </a:tr>
              <a:tr h="167212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Введения </a:t>
                      </a:r>
                      <a:r>
                        <a:rPr lang="ru-RU" sz="1400" b="0" dirty="0">
                          <a:latin typeface="Sylfaen" panose="010A0502050306030303" pitchFamily="18" charset="0"/>
                        </a:rPr>
                        <a:t>в вашей стране по сравнению со странами-партнерами</a:t>
                      </a:r>
                      <a:endParaRPr lang="en-US" sz="1400" b="0" dirty="0">
                        <a:solidFill>
                          <a:srgbClr val="FF0000"/>
                        </a:solidFill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Мы добились значительного прогресса в деле внедрения новых вакцин спасающих жизни, внедрив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пентавалентные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и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ротавирусные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вакцины. Но нужно еще многое сделать. Наши соседние страны развиваются быстрее. Они также ввели вакцины против </a:t>
                      </a:r>
                      <a:r>
                        <a:rPr lang="en-US" sz="1400" dirty="0">
                          <a:latin typeface="Sylfaen" panose="010A0502050306030303" pitchFamily="18" charset="0"/>
                        </a:rPr>
                        <a:t>PCV 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и </a:t>
                      </a:r>
                      <a:r>
                        <a:rPr lang="en-US" sz="1400" dirty="0">
                          <a:latin typeface="Sylfaen" panose="010A0502050306030303" pitchFamily="18" charset="0"/>
                        </a:rPr>
                        <a:t>HPV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, которые стоят на следующем месте в нашем списке приоритетов. Но нам нужно увеличить наш бюджет, чтобы доставить эти важные вакцины.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7170030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6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10" name="Star: 6 Points 9">
            <a:extLst>
              <a:ext uri="{FF2B5EF4-FFF2-40B4-BE49-F238E27FC236}">
                <a16:creationId xmlns:a16="http://schemas.microsoft.com/office/drawing/2014/main" id="{A375ED5A-F028-41BD-A6F6-E56DF2A6A6FD}"/>
              </a:ext>
            </a:extLst>
          </p:cNvPr>
          <p:cNvSpPr/>
          <p:nvPr/>
        </p:nvSpPr>
        <p:spPr>
          <a:xfrm>
            <a:off x="8020435" y="116052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8018300" y="11306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09579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48B7B-E016-4C5C-B0F0-0F0CC725B5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09053" cy="1143000"/>
          </a:xfrm>
        </p:spPr>
        <p:txBody>
          <a:bodyPr>
            <a:normAutofit fontScale="90000"/>
          </a:bodyPr>
          <a:lstStyle/>
          <a:p>
            <a:pPr algn="just"/>
            <a:r>
              <a:rPr lang="ru-RU" dirty="0">
                <a:latin typeface="Sylfaen" panose="010A0502050306030303" pitchFamily="18" charset="0"/>
              </a:rPr>
              <a:t>Примеры из стран УССПП по использованию данных для демонстрации того, что иммунизация в их странах дает очевидные результаты 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51F1D6-D010-4A21-8196-0F43111342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7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39F8D73-E97F-4ED8-BB14-921AF76C5A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079760"/>
              </p:ext>
            </p:extLst>
          </p:nvPr>
        </p:nvGraphicFramePr>
        <p:xfrm>
          <a:off x="484223" y="1681946"/>
          <a:ext cx="7970966" cy="439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5261">
                  <a:extLst>
                    <a:ext uri="{9D8B030D-6E8A-4147-A177-3AD203B41FA5}">
                      <a16:colId xmlns:a16="http://schemas.microsoft.com/office/drawing/2014/main" val="2128763066"/>
                    </a:ext>
                  </a:extLst>
                </a:gridCol>
                <a:gridCol w="5655705">
                  <a:extLst>
                    <a:ext uri="{9D8B030D-6E8A-4147-A177-3AD203B41FA5}">
                      <a16:colId xmlns:a16="http://schemas.microsoft.com/office/drawing/2014/main" val="1202205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Доказательства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8248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dirty="0">
                        <a:latin typeface="Sylfaen" panose="010A0502050306030303" pitchFamily="18" charset="0"/>
                      </a:endParaRPr>
                    </a:p>
                    <a:p>
                      <a:endParaRPr lang="en-US" sz="1800" dirty="0">
                        <a:latin typeface="Sylfaen" panose="010A0502050306030303" pitchFamily="18" charset="0"/>
                      </a:endParaRPr>
                    </a:p>
                    <a:p>
                      <a:r>
                        <a:rPr lang="ru-RU" sz="1800" dirty="0">
                          <a:latin typeface="Sylfaen" panose="010A0502050306030303" pitchFamily="18" charset="0"/>
                        </a:rPr>
                        <a:t>Бремя заболеваний</a:t>
                      </a:r>
                      <a:r>
                        <a:rPr lang="ru-RU" sz="1800" baseline="0" dirty="0">
                          <a:latin typeface="Sylfaen" panose="010A0502050306030303" pitchFamily="18" charset="0"/>
                        </a:rPr>
                        <a:t> 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Шри-Ланка: связала инвестиции в иммунизацию со снижением бремени </a:t>
                      </a:r>
                      <a:r>
                        <a:rPr lang="ru-RU" sz="1800" dirty="0">
                          <a:latin typeface="Sylfaen" panose="010A0502050306030303" pitchFamily="18" charset="0"/>
                        </a:rPr>
                        <a:t>заболеваний</a:t>
                      </a:r>
                      <a:r>
                        <a:rPr lang="ru-RU" sz="1800" baseline="0" dirty="0">
                          <a:latin typeface="Sylfaen" panose="010A0502050306030303" pitchFamily="18" charset="0"/>
                        </a:rPr>
                        <a:t> </a:t>
                      </a:r>
                      <a:endParaRPr lang="ru-RU" sz="1800" kern="1200" dirty="0">
                        <a:solidFill>
                          <a:schemeClr val="dk1"/>
                        </a:solidFill>
                        <a:effectLst/>
                        <a:latin typeface="Sylfaen" panose="010A0502050306030303" pitchFamily="18" charset="0"/>
                        <a:ea typeface="+mn-ea"/>
                        <a:cs typeface="+mn-cs"/>
                      </a:endParaRPr>
                    </a:p>
                    <a:p>
                      <a:pPr lvl="0"/>
                      <a:endParaRPr lang="ru-RU" sz="1800" kern="1200" dirty="0">
                        <a:solidFill>
                          <a:schemeClr val="dk1"/>
                        </a:solidFill>
                        <a:effectLst/>
                        <a:latin typeface="Sylfaen" panose="010A0502050306030303" pitchFamily="18" charset="0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Гана: в дополнение к количественным доказательствам, показала убедительные эпизодические свидетельства снижения бремени на Ближнем Востоке и в Северной Африке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796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dirty="0">
                        <a:latin typeface="Sylfaen" panose="010A0502050306030303" pitchFamily="18" charset="0"/>
                      </a:endParaRPr>
                    </a:p>
                    <a:p>
                      <a:r>
                        <a:rPr lang="ru-RU" sz="1800" dirty="0">
                          <a:latin typeface="Sylfaen" panose="010A0502050306030303" pitchFamily="18" charset="0"/>
                        </a:rPr>
                        <a:t>Госпитализация по причине болезней, предотвращаемых вакцинацией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Грузия: проанализирована сокращенную госпитализацию </a:t>
                      </a:r>
                      <a:r>
                        <a:rPr lang="ru-RU" sz="1800" dirty="0">
                          <a:latin typeface="Sylfaen" panose="010A0502050306030303" pitchFamily="18" charset="0"/>
                        </a:rPr>
                        <a:t>по причине болезней, 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предотвращаемых вакцинацией</a:t>
                      </a:r>
                    </a:p>
                    <a:p>
                      <a:pPr lvl="0"/>
                      <a:endParaRPr lang="ru-RU" sz="1800" kern="1200" dirty="0">
                        <a:solidFill>
                          <a:schemeClr val="dk1"/>
                        </a:solidFill>
                        <a:effectLst/>
                        <a:latin typeface="Sylfaen" panose="010A0502050306030303" pitchFamily="18" charset="0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Армения: показала сокращение госпитализации детей </a:t>
                      </a:r>
                      <a:r>
                        <a:rPr lang="ru-RU" sz="1800" dirty="0">
                          <a:latin typeface="Sylfaen" panose="010A0502050306030303" pitchFamily="18" charset="0"/>
                        </a:rPr>
                        <a:t>по причине 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kern="1200" dirty="0" err="1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ротавирусной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 инфекции после введения вакцины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9930954"/>
                  </a:ext>
                </a:extLst>
              </a:tr>
            </a:tbl>
          </a:graphicData>
        </a:graphic>
      </p:graphicFrame>
      <p:sp>
        <p:nvSpPr>
          <p:cNvPr id="9" name="Star: 6 Points 8">
            <a:extLst>
              <a:ext uri="{FF2B5EF4-FFF2-40B4-BE49-F238E27FC236}">
                <a16:creationId xmlns:a16="http://schemas.microsoft.com/office/drawing/2014/main" id="{9F04A41C-C4B2-4DEC-8770-8883E21D46BC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8760" y="18164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18040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27A59-FB51-4F20-AC43-452A5B03A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latin typeface="Sylfaen" panose="010A0502050306030303" pitchFamily="18" charset="0"/>
              </a:rPr>
              <a:t>Подкрепляющие сведения из литературных источников</a:t>
            </a:r>
            <a:endParaRPr lang="en-US" sz="2800" i="1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A796CB-1BFC-49B0-8B96-85A1D4E910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6AB704-7F4B-4DAA-9CFA-C5D0E5FCB1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6665" y="1239726"/>
            <a:ext cx="8229600" cy="609600"/>
          </a:xfrm>
        </p:spPr>
        <p:txBody>
          <a:bodyPr>
            <a:normAutofit fontScale="77500" lnSpcReduction="20000"/>
          </a:bodyPr>
          <a:lstStyle/>
          <a:p>
            <a:r>
              <a:rPr lang="ru-RU" i="1" dirty="0">
                <a:latin typeface="Sylfaen" panose="010A0502050306030303" pitchFamily="18" charset="0"/>
              </a:rPr>
              <a:t>Заметьте, что мы смогли бы добавить еще несколько примеров. Являются ли они наиболее эффективными в качестве </a:t>
            </a:r>
            <a:r>
              <a:rPr lang="ru-RU" i="1" dirty="0" err="1">
                <a:latin typeface="Sylfaen" panose="010A0502050306030303" pitchFamily="18" charset="0"/>
              </a:rPr>
              <a:t>страновых</a:t>
            </a:r>
            <a:r>
              <a:rPr lang="ru-RU" i="1" dirty="0">
                <a:latin typeface="Sylfaen" panose="010A0502050306030303" pitchFamily="18" charset="0"/>
              </a:rPr>
              <a:t>  или глобальных исследований?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578849-1E4A-4020-BFB7-F11D39AF67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8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46F9798-7ADA-45CF-A792-9E3D978D47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5081862"/>
              </p:ext>
            </p:extLst>
          </p:nvPr>
        </p:nvGraphicFramePr>
        <p:xfrm>
          <a:off x="422517" y="1734558"/>
          <a:ext cx="8454628" cy="4531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7128">
                  <a:extLst>
                    <a:ext uri="{9D8B030D-6E8A-4147-A177-3AD203B41FA5}">
                      <a16:colId xmlns:a16="http://schemas.microsoft.com/office/drawing/2014/main" val="2128763066"/>
                    </a:ext>
                  </a:extLst>
                </a:gridCol>
                <a:gridCol w="6697500">
                  <a:extLst>
                    <a:ext uri="{9D8B030D-6E8A-4147-A177-3AD203B41FA5}">
                      <a16:colId xmlns:a16="http://schemas.microsoft.com/office/drawing/2014/main" val="1202205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Sylfaen" panose="010A0502050306030303" pitchFamily="18" charset="0"/>
                        </a:rPr>
                        <a:t>Интервенция 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Sylfaen" panose="010A0502050306030303" pitchFamily="18" charset="0"/>
                        </a:rPr>
                        <a:t>Доказательство 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8248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dirty="0">
                        <a:latin typeface="Sylfaen" panose="010A0502050306030303" pitchFamily="18" charset="0"/>
                      </a:endParaRPr>
                    </a:p>
                    <a:p>
                      <a:endParaRPr lang="en-US" sz="1800" dirty="0">
                        <a:latin typeface="Sylfaen" panose="010A0502050306030303" pitchFamily="18" charset="0"/>
                      </a:endParaRPr>
                    </a:p>
                    <a:p>
                      <a:endParaRPr lang="en-US" sz="1800" dirty="0">
                        <a:latin typeface="Sylfaen" panose="010A0502050306030303" pitchFamily="18" charset="0"/>
                      </a:endParaRPr>
                    </a:p>
                    <a:p>
                      <a:r>
                        <a:rPr lang="en-US" sz="1800" dirty="0" err="1">
                          <a:latin typeface="Sylfaen" panose="010A0502050306030303" pitchFamily="18" charset="0"/>
                        </a:rPr>
                        <a:t>Hib</a:t>
                      </a:r>
                      <a:r>
                        <a:rPr lang="en-US" sz="1800" dirty="0">
                          <a:latin typeface="Sylfaen" panose="010A0502050306030303" pitchFamily="18" charset="0"/>
                        </a:rPr>
                        <a:t>-</a:t>
                      </a:r>
                      <a:r>
                        <a:rPr lang="ru-RU" sz="1800" dirty="0">
                          <a:latin typeface="Sylfaen" panose="010A0502050306030303" pitchFamily="18" charset="0"/>
                        </a:rPr>
                        <a:t>вакцинация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800" dirty="0">
                          <a:latin typeface="Sylfaen" panose="010A0502050306030303" pitchFamily="18" charset="0"/>
                        </a:rPr>
                        <a:t>Исследование, проведенное в Узбекистане, показало, что вакцинация против </a:t>
                      </a:r>
                      <a:r>
                        <a:rPr lang="ru-RU" sz="1800" dirty="0" err="1">
                          <a:latin typeface="Sylfaen" panose="010A0502050306030303" pitchFamily="18" charset="0"/>
                        </a:rPr>
                        <a:t>Hib</a:t>
                      </a:r>
                      <a:r>
                        <a:rPr lang="ru-RU" sz="1800" dirty="0">
                          <a:latin typeface="Sylfaen" panose="010A0502050306030303" pitchFamily="18" charset="0"/>
                        </a:rPr>
                        <a:t> одной возрастной когорты </a:t>
                      </a:r>
                      <a:r>
                        <a:rPr lang="ru-RU" sz="1800" baseline="0" dirty="0">
                          <a:latin typeface="Sylfaen" panose="010A0502050306030303" pitchFamily="18" charset="0"/>
                        </a:rPr>
                        <a:t>поможет </a:t>
                      </a:r>
                      <a:r>
                        <a:rPr lang="ru-RU" sz="1800" dirty="0">
                          <a:latin typeface="Sylfaen" panose="010A0502050306030303" pitchFamily="18" charset="0"/>
                        </a:rPr>
                        <a:t>предположительно</a:t>
                      </a:r>
                      <a:r>
                        <a:rPr lang="ru-RU" sz="1800" baseline="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ru-RU" sz="1800" dirty="0">
                          <a:latin typeface="Sylfaen" panose="010A0502050306030303" pitchFamily="18" charset="0"/>
                        </a:rPr>
                        <a:t>предотвратить около 350 смертей в год среди детей в возрасте до 5 лет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  <a:p>
                      <a:pPr marL="0" indent="0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600" dirty="0">
                          <a:latin typeface="Sylfaen" panose="010A0502050306030303" pitchFamily="18" charset="0"/>
                        </a:rPr>
                        <a:t>Ссылка: </a:t>
                      </a:r>
                      <a:r>
                        <a:rPr lang="ru-RU" sz="1600" dirty="0" err="1">
                          <a:latin typeface="Sylfaen" panose="010A0502050306030303" pitchFamily="18" charset="0"/>
                        </a:rPr>
                        <a:t>Гриффитс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 Великобритания, Кларк А., </a:t>
                      </a:r>
                      <a:r>
                        <a:rPr lang="ru-RU" sz="1600" dirty="0" err="1">
                          <a:latin typeface="Sylfaen" panose="010A0502050306030303" pitchFamily="18" charset="0"/>
                        </a:rPr>
                        <a:t>Шиманович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 В., Глинская И., Турсунова Д., Ким Л., и др. (2011 г.) Сравнительная экономическая оценка вакцинации</a:t>
                      </a:r>
                      <a:r>
                        <a:rPr lang="ru-RU" sz="1600" baseline="0" dirty="0">
                          <a:latin typeface="Sylfaen" panose="010A0502050306030303" pitchFamily="18" charset="0"/>
                        </a:rPr>
                        <a:t> от </a:t>
                      </a:r>
                      <a:r>
                        <a:rPr lang="en-US" sz="1600" dirty="0" err="1">
                          <a:latin typeface="Sylfaen" panose="010A0502050306030303" pitchFamily="18" charset="0"/>
                        </a:rPr>
                        <a:t>Haemophilus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en-US" sz="1600" dirty="0" err="1">
                          <a:latin typeface="Sylfaen" panose="010A0502050306030303" pitchFamily="18" charset="0"/>
                        </a:rPr>
                        <a:t>influenzae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типа</a:t>
                      </a:r>
                      <a:r>
                        <a:rPr lang="ru-RU" sz="1600" baseline="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b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в Беларуси и Узбекистане. </a:t>
                      </a:r>
                      <a:r>
                        <a:rPr lang="en-US" sz="1600" dirty="0" err="1">
                          <a:latin typeface="Sylfaen" panose="010A0502050306030303" pitchFamily="18" charset="0"/>
                        </a:rPr>
                        <a:t>PLoS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 ONE 6(6): e21472. doi:10.1371/journal.pone.002147</a:t>
                      </a:r>
                      <a:r>
                        <a:rPr lang="en-US" sz="1800" dirty="0">
                          <a:latin typeface="Sylfaen" panose="010A0502050306030303" pitchFamily="18" charset="0"/>
                        </a:rPr>
                        <a:t>2</a:t>
                      </a:r>
                      <a:r>
                        <a:rPr lang="ru-RU" sz="1800" dirty="0">
                          <a:latin typeface="Sylfaen" panose="010A0502050306030303" pitchFamily="18" charset="0"/>
                        </a:rPr>
                        <a:t> 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99309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Sylfaen" panose="010A0502050306030303" pitchFamily="18" charset="0"/>
                        </a:rPr>
                        <a:t>Иммунизация, случаи предотвращения смерти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800" dirty="0">
                          <a:latin typeface="Sylfaen" panose="010A0502050306030303" pitchFamily="18" charset="0"/>
                        </a:rPr>
                        <a:t>Во всем мире иммунизация ежегодно предотвращает около 2,5 миллионов смертей</a:t>
                      </a:r>
                    </a:p>
                    <a:p>
                      <a:pPr marL="0" indent="0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800" dirty="0">
                          <a:latin typeface="Sylfaen" panose="010A0502050306030303" pitchFamily="18" charset="0"/>
                        </a:rPr>
                        <a:t>Ссылка на данные:</a:t>
                      </a:r>
                      <a:r>
                        <a:rPr lang="en-US" sz="180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ru-RU" sz="180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en-US" sz="1800" dirty="0">
                          <a:latin typeface="Sylfaen" panose="010A0502050306030303" pitchFamily="18" charset="0"/>
                          <a:hlinkClick r:id="rId2"/>
                        </a:rPr>
                        <a:t>http://who.int/immunization/newsroom/global_immunization_data_july_2014.pdf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  <a:p>
                      <a:pPr marL="0" indent="0">
                        <a:spcAft>
                          <a:spcPts val="600"/>
                        </a:spcAft>
                        <a:buFont typeface="+mj-lt"/>
                        <a:buNone/>
                      </a:pP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3947073"/>
                  </a:ext>
                </a:extLst>
              </a:tr>
            </a:tbl>
          </a:graphicData>
        </a:graphic>
      </p:graphicFrame>
      <p:sp>
        <p:nvSpPr>
          <p:cNvPr id="10" name="Star: 6 Points 9">
            <a:extLst>
              <a:ext uri="{FF2B5EF4-FFF2-40B4-BE49-F238E27FC236}">
                <a16:creationId xmlns:a16="http://schemas.microsoft.com/office/drawing/2014/main" id="{AA03B89E-3CDC-46C6-900B-6E6F8C01F631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11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8760" y="18164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3279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196835AC-3E06-43BA-9501-4A0B093D3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92" y="2615897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Если те кто, принимает у вас решения, больше всего заинтересованы в ЭКОНОМИЧЕСКОМ РОСТЕ И СНИЖЕНИИ УРОВНЯ БЕДНОСТИ</a:t>
            </a:r>
            <a:endParaRPr lang="en-US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73448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Назначение презентации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57842"/>
            <a:ext cx="8323006" cy="4778350"/>
          </a:xfrm>
        </p:spPr>
        <p:txBody>
          <a:bodyPr>
            <a:noAutofit/>
          </a:bodyPr>
          <a:lstStyle/>
          <a:p>
            <a:r>
              <a:rPr lang="ru-RU" sz="2100" b="1" dirty="0">
                <a:latin typeface="Sylfaen" panose="010A0502050306030303" pitchFamily="18" charset="0"/>
              </a:rPr>
              <a:t>Цель: </a:t>
            </a:r>
            <a:r>
              <a:rPr lang="ru-RU" sz="2100" dirty="0">
                <a:latin typeface="Sylfaen" panose="010A0502050306030303" pitchFamily="18" charset="0"/>
              </a:rPr>
              <a:t>обеспечить членов Учебной сети для стран переходного периода (LNCT) набором тезисов для дискуссий в поддержку увеличения (или, по крайней мере, поддержания) инвестиций в иммунизацию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dirty="0">
                <a:latin typeface="Sylfaen" panose="010A0502050306030303" pitchFamily="18" charset="0"/>
              </a:rPr>
              <a:t>Некоторые материалы намеренно повторяются, поскольку их можно использовать для разных дискуссий 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dirty="0">
                <a:latin typeface="Sylfaen" panose="010A0502050306030303" pitchFamily="18" charset="0"/>
              </a:rPr>
              <a:t>Слайды предназначены для выбора и адаптации к разным аудиториям (например, MOF, парламентариев и др.) и контекстам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b="1" dirty="0">
                <a:latin typeface="Sylfaen" panose="010A0502050306030303" pitchFamily="18" charset="0"/>
              </a:rPr>
              <a:t>Необходим Ваш вклад: </a:t>
            </a:r>
            <a:r>
              <a:rPr lang="ru-RU" sz="2100" dirty="0">
                <a:latin typeface="Sylfaen" panose="010A0502050306030303" pitchFamily="18" charset="0"/>
              </a:rPr>
              <a:t>полезно ли это? Можно ли это улучшить, чтобы быть более полезным для ваших нужд и вашей работы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9549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EB5E7-2CCC-4F7C-AD25-96E9109EC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711440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Иммунизация приносит большие экономические выгоды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5AC247-35AC-44AE-89D7-30D078245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0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A0E217-8884-4A26-845D-1054F6325926}"/>
              </a:ext>
            </a:extLst>
          </p:cNvPr>
          <p:cNvSpPr txBox="1"/>
          <p:nvPr/>
        </p:nvSpPr>
        <p:spPr>
          <a:xfrm>
            <a:off x="457200" y="1135823"/>
            <a:ext cx="82569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Sylfaen" panose="010A0502050306030303" pitchFamily="18" charset="0"/>
              </a:rPr>
              <a:t>Анализ рентабельности инвестиций дает количественную оценку выгод, получаемых от иммунизации, в денежном выражении.</a:t>
            </a:r>
            <a:endParaRPr lang="en-US" b="1" dirty="0">
              <a:latin typeface="Sylfaen" panose="010A0502050306030303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E0ABF9-7565-480C-BF69-D8084962988D}"/>
              </a:ext>
            </a:extLst>
          </p:cNvPr>
          <p:cNvSpPr txBox="1"/>
          <p:nvPr/>
        </p:nvSpPr>
        <p:spPr>
          <a:xfrm>
            <a:off x="536236" y="1910882"/>
            <a:ext cx="42947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2"/>
                </a:solidFill>
                <a:latin typeface="Sylfaen" panose="010A0502050306030303" pitchFamily="18" charset="0"/>
              </a:rPr>
              <a:t>Недавнее исследование показывает, что каждый $ 1, инвестированный в иммунизацию, приносит...</a:t>
            </a:r>
            <a:endParaRPr lang="en-US" b="1" dirty="0">
              <a:solidFill>
                <a:schemeClr val="accent2"/>
              </a:solidFill>
              <a:latin typeface="Sylfaen" panose="010A0502050306030303" pitchFamily="18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D5F6B6B-5C88-416C-8C18-4990BC2A2F22}"/>
              </a:ext>
            </a:extLst>
          </p:cNvPr>
          <p:cNvCxnSpPr/>
          <p:nvPr/>
        </p:nvCxnSpPr>
        <p:spPr>
          <a:xfrm>
            <a:off x="539883" y="1867401"/>
            <a:ext cx="8322014" cy="1610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E580657-1CEF-43B5-BA17-DA6D5D9AD35C}"/>
              </a:ext>
            </a:extLst>
          </p:cNvPr>
          <p:cNvSpPr txBox="1"/>
          <p:nvPr/>
        </p:nvSpPr>
        <p:spPr>
          <a:xfrm>
            <a:off x="2013821" y="3035258"/>
            <a:ext cx="25347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latin typeface="Sylfaen" panose="010A0502050306030303" pitchFamily="18" charset="0"/>
              </a:rPr>
              <a:t>выгоду в 16</a:t>
            </a:r>
            <a:r>
              <a:rPr lang="en-US" sz="2800" dirty="0">
                <a:latin typeface="Sylfaen" panose="010A0502050306030303" pitchFamily="18" charset="0"/>
              </a:rPr>
              <a:t> </a:t>
            </a:r>
            <a:r>
              <a:rPr lang="ru-RU" sz="28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$</a:t>
            </a:r>
            <a:endParaRPr lang="en-US" sz="28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626916-F9DF-4914-9E92-E7FE3FC5E517}"/>
              </a:ext>
            </a:extLst>
          </p:cNvPr>
          <p:cNvCxnSpPr/>
          <p:nvPr/>
        </p:nvCxnSpPr>
        <p:spPr>
          <a:xfrm>
            <a:off x="4957459" y="1949868"/>
            <a:ext cx="0" cy="3729683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owchart: Merge 13">
            <a:extLst>
              <a:ext uri="{FF2B5EF4-FFF2-40B4-BE49-F238E27FC236}">
                <a16:creationId xmlns:a16="http://schemas.microsoft.com/office/drawing/2014/main" id="{C5D4278E-CF68-4414-AB8C-B771178CC650}"/>
              </a:ext>
            </a:extLst>
          </p:cNvPr>
          <p:cNvSpPr/>
          <p:nvPr/>
        </p:nvSpPr>
        <p:spPr>
          <a:xfrm>
            <a:off x="1053017" y="3825624"/>
            <a:ext cx="2918298" cy="496753"/>
          </a:xfrm>
          <a:prstGeom prst="flowChartMerg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EAEF749-7CF7-4375-B282-575A2D517884}"/>
              </a:ext>
            </a:extLst>
          </p:cNvPr>
          <p:cNvSpPr/>
          <p:nvPr/>
        </p:nvSpPr>
        <p:spPr>
          <a:xfrm>
            <a:off x="535832" y="4412474"/>
            <a:ext cx="4191810" cy="1298049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bg1"/>
                </a:solidFill>
                <a:latin typeface="Sylfaen" panose="010A0502050306030303" pitchFamily="18" charset="0"/>
              </a:rPr>
              <a:t>Эти анализы показывают, что иммунизация – это отличная инвестиция. Сравнительный анализ показывает, что иммунизация является одним из видов  инвестиций в развитие с наиболее выгодным вложением денег</a:t>
            </a:r>
            <a:endParaRPr lang="en-US" sz="1400" dirty="0">
              <a:solidFill>
                <a:schemeClr val="bg1"/>
              </a:solidFill>
              <a:latin typeface="Sylfaen" panose="010A0502050306030303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A0C157-2B4B-47D2-B63D-FE6139ACA2A4}"/>
              </a:ext>
            </a:extLst>
          </p:cNvPr>
          <p:cNvSpPr txBox="1"/>
          <p:nvPr/>
        </p:nvSpPr>
        <p:spPr>
          <a:xfrm>
            <a:off x="5083920" y="1981123"/>
            <a:ext cx="3777977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Sylfaen" panose="010A0502050306030303" pitchFamily="18" charset="0"/>
              </a:rPr>
              <a:t>Эти доходы от инвестиций состоят из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Sylfaen" panose="010A0502050306030303" pitchFamily="18" charset="0"/>
              </a:rPr>
              <a:t>Экономии затрат на леч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Sylfaen" panose="010A0502050306030303" pitchFamily="18" charset="0"/>
              </a:rPr>
              <a:t>Экономии затрат на обращение за лечение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Sylfaen" panose="010A0502050306030303" pitchFamily="18" charset="0"/>
              </a:rPr>
              <a:t>Предотвращенные потери в виде зарплаты сидел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Sylfaen" panose="010A0502050306030303" pitchFamily="18" charset="0"/>
              </a:rPr>
              <a:t>Предотвращенные потери с точки зрения производительности по причине болезни и преждевременной смерти </a:t>
            </a:r>
            <a:endParaRPr lang="en-US" sz="1600" dirty="0">
              <a:latin typeface="Sylfaen" panose="010A0502050306030303" pitchFamily="18" charset="0"/>
            </a:endParaRPr>
          </a:p>
          <a:p>
            <a:pPr lvl="1"/>
            <a:endParaRPr lang="en-US" sz="1600" dirty="0">
              <a:latin typeface="Sylfaen" panose="010A0502050306030303" pitchFamily="18" charset="0"/>
            </a:endParaRPr>
          </a:p>
          <a:p>
            <a:r>
              <a:rPr lang="ru-RU" sz="1600" dirty="0">
                <a:latin typeface="Sylfaen" panose="010A0502050306030303" pitchFamily="18" charset="0"/>
              </a:rPr>
              <a:t>Наибольшие выгоды имеются в производительности</a:t>
            </a:r>
            <a:r>
              <a:rPr lang="en-US" sz="1600" dirty="0">
                <a:latin typeface="Sylfaen" panose="010A0502050306030303" pitchFamily="18" charset="0"/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1CF4F05-CBD7-4D97-8429-DD04A1393A8C}"/>
              </a:ext>
            </a:extLst>
          </p:cNvPr>
          <p:cNvSpPr txBox="1"/>
          <p:nvPr/>
        </p:nvSpPr>
        <p:spPr>
          <a:xfrm>
            <a:off x="1847605" y="6106096"/>
            <a:ext cx="66095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FF0000"/>
                </a:solidFill>
                <a:latin typeface="Sylfaen" panose="010A0502050306030303" pitchFamily="18" charset="0"/>
              </a:rPr>
              <a:t>Источник</a:t>
            </a:r>
            <a:r>
              <a:rPr lang="en-US" sz="1200" dirty="0">
                <a:solidFill>
                  <a:srgbClr val="FF0000"/>
                </a:solidFill>
                <a:latin typeface="Sylfaen" panose="010A0502050306030303" pitchFamily="18" charset="0"/>
              </a:rPr>
              <a:t>:  Sachi et al. Return on Investment from Childhood Immunizations in Low- and Middle- </a:t>
            </a:r>
          </a:p>
          <a:p>
            <a:r>
              <a:rPr lang="en-US" sz="1200" dirty="0">
                <a:solidFill>
                  <a:srgbClr val="FF0000"/>
                </a:solidFill>
                <a:latin typeface="Sylfaen" panose="010A0502050306030303" pitchFamily="18" charset="0"/>
              </a:rPr>
              <a:t>Income Countries, 2011-20, Health Affairs, February 2016.</a:t>
            </a:r>
          </a:p>
        </p:txBody>
      </p:sp>
      <p:sp>
        <p:nvSpPr>
          <p:cNvPr id="17" name="Star: 6 Points 16">
            <a:extLst>
              <a:ext uri="{FF2B5EF4-FFF2-40B4-BE49-F238E27FC236}">
                <a16:creationId xmlns:a16="http://schemas.microsoft.com/office/drawing/2014/main" id="{3B79315A-4E3D-40FE-929A-C675C2918281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20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6254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19167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ведет к улучшению познания, уровня образования и питания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9FD14-771E-4073-9004-1C04AA2C34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32192"/>
            <a:ext cx="8229600" cy="4105247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сследования показали, что защита от болезней, которую предлагает иммунизация, ведет к улучшению познания и достижению более высокого уровня образования, что приводит к </a:t>
            </a:r>
            <a:r>
              <a:rPr lang="ru-RU" b="1" dirty="0">
                <a:latin typeface="Sylfaen" panose="010A0502050306030303" pitchFamily="18" charset="0"/>
              </a:rPr>
              <a:t>более высокой производительности </a:t>
            </a:r>
            <a:r>
              <a:rPr lang="ru-RU" dirty="0">
                <a:latin typeface="Sylfaen" panose="010A0502050306030303" pitchFamily="18" charset="0"/>
              </a:rPr>
              <a:t>и </a:t>
            </a:r>
            <a:r>
              <a:rPr lang="ru-RU" b="1" dirty="0">
                <a:latin typeface="Sylfaen" panose="010A0502050306030303" pitchFamily="18" charset="0"/>
              </a:rPr>
              <a:t>экономическому росту </a:t>
            </a:r>
            <a:r>
              <a:rPr lang="ru-RU" dirty="0">
                <a:latin typeface="Sylfaen" panose="010A0502050306030303" pitchFamily="18" charset="0"/>
              </a:rPr>
              <a:t>в долгосрочной перспективе.</a:t>
            </a:r>
          </a:p>
          <a:p>
            <a:pPr marL="0" indent="0">
              <a:buNone/>
            </a:pPr>
            <a:endParaRPr lang="ru-RU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Иммунизация также улучшает состояние питания, что в свою очередь приводит к </a:t>
            </a:r>
            <a:r>
              <a:rPr lang="ru-RU" b="1" dirty="0">
                <a:latin typeface="Sylfaen" panose="010A0502050306030303" pitchFamily="18" charset="0"/>
              </a:rPr>
              <a:t>улучшению здоровья, результатов образования и перспектив трудоустройства</a:t>
            </a:r>
            <a:r>
              <a:rPr lang="ru-RU" dirty="0">
                <a:latin typeface="Sylfaen" panose="010A0502050306030303" pitchFamily="18" charset="0"/>
              </a:rPr>
              <a:t>.</a:t>
            </a:r>
            <a:r>
              <a:rPr lang="en-US" dirty="0">
                <a:latin typeface="Sylfaen" panose="010A0502050306030303" pitchFamily="18" charset="0"/>
              </a:rPr>
              <a:t> </a:t>
            </a:r>
          </a:p>
          <a:p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1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6106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5ED00-8BCD-45A0-BACE-7C158B8E7A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914640" cy="1143000"/>
          </a:xfrm>
        </p:spPr>
        <p:txBody>
          <a:bodyPr>
            <a:no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является медицинской помощью, ориентированной на нужды малоимущих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9A0CA9-EE4F-4CC9-906D-CC441DD534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134429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достигает большую часть малоимущих семей, чем большинство других видов медицинской помощи.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Расходы на здравоохранение и потеря заработной платы по причине болезней, предотвращаемых иммунизацией, вгоняют многие семьи в нищету.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Предотвращая эти потери, иммунизация обеспечивает своего рода защиту от финансовых рисков, особенно для малоимущих.</a:t>
            </a:r>
            <a:endParaRPr lang="en-US" dirty="0">
              <a:latin typeface="Sylfaen" panose="010A0502050306030303" pitchFamily="18" charset="0"/>
            </a:endParaRPr>
          </a:p>
          <a:p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56F029-A66E-48B9-80C2-E94BEA177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22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433D8CD-AF61-4E09-96BD-9A4E4AD6E3FB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0626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2B3E1A-6952-4848-8F53-66C40627E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355434" cy="1143000"/>
          </a:xfrm>
        </p:spPr>
        <p:txBody>
          <a:bodyPr>
            <a:no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является основным компонентом прогресса в направлении всеобщего охвата здравоохранением (UHC)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DAA358-B88B-47E3-B059-53E6CC96DD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8547"/>
            <a:ext cx="8229600" cy="3607163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20000"/>
              </a:lnSpc>
            </a:pPr>
            <a:r>
              <a:rPr lang="ru-RU" dirty="0">
                <a:latin typeface="Sylfaen" panose="010A0502050306030303" pitchFamily="18" charset="0"/>
              </a:rPr>
              <a:t>Всеобщий </a:t>
            </a:r>
            <a:r>
              <a:rPr lang="ru-RU" sz="2200" dirty="0">
                <a:latin typeface="Sylfaen" panose="010A0502050306030303" pitchFamily="18" charset="0"/>
              </a:rPr>
              <a:t>охват здравоохранением означает обеспечение того, чтобы каждый человек имел доступ к качественным медицинским услугам без финансовых трудностей или риска обнищания.</a:t>
            </a:r>
          </a:p>
          <a:p>
            <a:pPr marL="0" indent="0">
              <a:lnSpc>
                <a:spcPct val="120000"/>
              </a:lnSpc>
              <a:buNone/>
            </a:pPr>
            <a:endParaRPr lang="ru-RU" sz="8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r>
              <a:rPr lang="ru-RU" sz="2200" dirty="0">
                <a:latin typeface="Sylfaen" panose="010A0502050306030303" pitchFamily="18" charset="0"/>
              </a:rPr>
              <a:t>Иммунизация является одним из наиболее рентабельным медицинским мероприятием, спасающим жизни. </a:t>
            </a:r>
            <a:endParaRPr lang="en-US" sz="22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endParaRPr lang="ru-RU" sz="12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r>
              <a:rPr lang="ru-RU" sz="2200" dirty="0">
                <a:latin typeface="Sylfaen" panose="010A0502050306030303" pitchFamily="18" charset="0"/>
              </a:rPr>
              <a:t>Обеспечение досягаемости и доступности иммунизации путем включения ее в пакет основных услуг или пакет льгот национальной системы медицинского страхования является важным шагом на пути к достижению всеобщего охвата медико-санитарными услугами </a:t>
            </a:r>
            <a:endParaRPr lang="en-US" sz="2200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657C5E-EA15-42C3-B56B-14CE76ECDC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3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484FAC9-B020-4E0C-89A1-C5DF649BFF7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FA7E9C-2AA0-4342-B425-974152634C0B}"/>
              </a:ext>
            </a:extLst>
          </p:cNvPr>
          <p:cNvSpPr/>
          <p:nvPr/>
        </p:nvSpPr>
        <p:spPr>
          <a:xfrm>
            <a:off x="457200" y="5054135"/>
            <a:ext cx="83397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Sylfaen" panose="010A0502050306030303" pitchFamily="18" charset="0"/>
              </a:rPr>
              <a:t>Источник</a:t>
            </a:r>
            <a:r>
              <a:rPr lang="en-US" sz="1400" dirty="0">
                <a:latin typeface="Sylfaen" panose="010A0502050306030303" pitchFamily="18" charset="0"/>
              </a:rPr>
              <a:t>: Immunization Financing Resource Guide (2017). Available at: </a:t>
            </a:r>
            <a:r>
              <a:rPr lang="en-US" sz="1400" dirty="0">
                <a:latin typeface="Sylfaen" panose="010A0502050306030303" pitchFamily="18" charset="0"/>
                <a:hlinkClick r:id="rId2"/>
              </a:rPr>
              <a:t>http://www.immunizationfinancing.org/en/immunization-fundamentals/universal-health-coverage-and-immunization-financing#</a:t>
            </a:r>
            <a:r>
              <a:rPr lang="en-US" sz="1400" dirty="0">
                <a:latin typeface="Sylfaen" panose="010A0502050306030303" pitchFamily="18" charset="0"/>
              </a:rPr>
              <a:t>!</a:t>
            </a:r>
          </a:p>
          <a:p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9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8114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28586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являются платформой для обеспечения готовности к пандемии (1/2)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8348"/>
            <a:ext cx="8229600" cy="4675007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Крупные вспышки болезней могут нанести серьезный вред экономике и замедлить рост, подрывая торговлю, туризм, производство, транспорт.</a:t>
            </a:r>
          </a:p>
          <a:p>
            <a:endParaRPr lang="ru-RU" sz="14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Эпидемия SARS 2003 года, возможно, стоила Гонконгу более 1% своего ВВП в том году. *</a:t>
            </a:r>
          </a:p>
          <a:p>
            <a:pPr marL="0" indent="0">
              <a:buNone/>
            </a:pPr>
            <a:endParaRPr lang="en-US" sz="16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Иммунизация может непосредственно предотвратить вспышки некоторых заболеваний, включая желтую лихорадку, холеру, менингит, корь и японский энцефалит, против которых уже существуют вакцины. 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4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89F90B-08AA-4A92-845D-50A3A6BD3F81}"/>
              </a:ext>
            </a:extLst>
          </p:cNvPr>
          <p:cNvSpPr txBox="1"/>
          <p:nvPr/>
        </p:nvSpPr>
        <p:spPr>
          <a:xfrm>
            <a:off x="457200" y="4949591"/>
            <a:ext cx="83397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latin typeface="Sylfaen" panose="010A0502050306030303" pitchFamily="18" charset="0"/>
              </a:rPr>
              <a:t>*</a:t>
            </a:r>
            <a:r>
              <a:rPr lang="en-US" sz="1400" i="1" dirty="0" err="1">
                <a:latin typeface="Sylfaen" panose="010A0502050306030303" pitchFamily="18" charset="0"/>
              </a:rPr>
              <a:t>Brahmbhatt</a:t>
            </a:r>
            <a:r>
              <a:rPr lang="en-US" sz="1400" i="1" dirty="0">
                <a:latin typeface="Sylfaen" panose="010A0502050306030303" pitchFamily="18" charset="0"/>
              </a:rPr>
              <a:t>, Milan; Dutta, Arindam. 2008. On SARS Type Economic Effects During Infectious Disease Outbreaks. Policy Research Working Paper; No. 4466. World Bank, Washington, DC. © World Bank. </a:t>
            </a:r>
            <a:r>
              <a:rPr lang="en-US" sz="1400" i="1" dirty="0">
                <a:latin typeface="Sylfaen" panose="010A0502050306030303" pitchFamily="18" charset="0"/>
                <a:hlinkClick r:id="rId2"/>
              </a:rPr>
              <a:t>https://openknowledge.worldbank.org/handle/10986/6440</a:t>
            </a:r>
            <a:r>
              <a:rPr lang="ru-RU" sz="1400" i="1" dirty="0">
                <a:latin typeface="Sylfaen" panose="010A0502050306030303" pitchFamily="18" charset="0"/>
              </a:rPr>
              <a:t> </a:t>
            </a:r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7AEBFEAA-FEC2-4B41-BD4C-4A54195CF81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1325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091680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являются платформой для обеспечения готовности к пандемии </a:t>
            </a:r>
            <a:r>
              <a:rPr lang="en-US" dirty="0">
                <a:latin typeface="Sylfaen" panose="010A0502050306030303" pitchFamily="18" charset="0"/>
              </a:rPr>
              <a:t>(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412576"/>
          </a:xfrm>
        </p:spPr>
        <p:txBody>
          <a:bodyPr>
            <a:normAutofit lnSpcReduction="1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позволяют странам быстро реагировать, когда станут доступными новые вакцины против дополнительных вспышек заболеваний.</a:t>
            </a:r>
            <a:endParaRPr lang="en-US" dirty="0">
              <a:latin typeface="Sylfaen" panose="010A0502050306030303" pitchFamily="18" charset="0"/>
            </a:endParaRPr>
          </a:p>
          <a:p>
            <a:endParaRPr lang="en-US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Вакцины разрабатываются против </a:t>
            </a:r>
            <a:r>
              <a:rPr lang="ru-RU" dirty="0" err="1">
                <a:latin typeface="Sylfaen" panose="010A0502050306030303" pitchFamily="18" charset="0"/>
              </a:rPr>
              <a:t>Эбола</a:t>
            </a:r>
            <a:r>
              <a:rPr lang="ru-RU" dirty="0">
                <a:latin typeface="Sylfaen" panose="010A0502050306030303" pitchFamily="18" charset="0"/>
              </a:rPr>
              <a:t>, </a:t>
            </a:r>
            <a:r>
              <a:rPr lang="ru-RU" dirty="0" err="1">
                <a:latin typeface="Sylfaen" panose="010A0502050306030303" pitchFamily="18" charset="0"/>
              </a:rPr>
              <a:t>Зика</a:t>
            </a:r>
            <a:r>
              <a:rPr lang="ru-RU" dirty="0">
                <a:latin typeface="Sylfaen" panose="010A0502050306030303" pitchFamily="18" charset="0"/>
              </a:rPr>
              <a:t> и ряда других потенциальных эпидемических заболеваний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могут помочь странам реагировать на вспышки другими способами, даже на вспышки болезней, для которых нет вакцин. </a:t>
            </a:r>
            <a:r>
              <a:rPr lang="en-US" dirty="0">
                <a:latin typeface="Sylfaen" panose="010A0502050306030303" pitchFamily="18" charset="0"/>
              </a:rPr>
              <a:t> </a:t>
            </a:r>
          </a:p>
          <a:p>
            <a:endParaRPr lang="en-US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Например, инфраструктура полиомиелита в Нигерии помогла предотвратить серьезную вспышку вируса </a:t>
            </a:r>
            <a:r>
              <a:rPr lang="ru-RU" dirty="0" err="1">
                <a:latin typeface="Sylfaen" panose="010A0502050306030303" pitchFamily="18" charset="0"/>
              </a:rPr>
              <a:t>Эбола</a:t>
            </a:r>
            <a:r>
              <a:rPr lang="ru-RU" dirty="0">
                <a:latin typeface="Sylfaen" panose="010A0502050306030303" pitchFamily="18" charset="0"/>
              </a:rPr>
              <a:t> в 2014 году.</a:t>
            </a:r>
            <a:endParaRPr lang="en-US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5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7AD3830-933B-4411-B370-D7D79ECFBF8C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43715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80069"/>
            <a:ext cx="7691120" cy="1147762"/>
          </a:xfrm>
        </p:spPr>
        <p:txBody>
          <a:bodyPr>
            <a:noAutofit/>
          </a:bodyPr>
          <a:lstStyle/>
          <a:p>
            <a:r>
              <a:rPr lang="ru-RU" sz="2100" dirty="0">
                <a:latin typeface="Sylfaen" panose="010A0502050306030303" pitchFamily="18" charset="0"/>
              </a:rPr>
              <a:t>Использование данных для демонстрации того, что иммунизация в вашей стране дает очевидные экономические результаты (и что многое еще нужно сделать)</a:t>
            </a:r>
            <a:endParaRPr lang="en-US" sz="2100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20296115"/>
              </p:ext>
            </p:extLst>
          </p:nvPr>
        </p:nvGraphicFramePr>
        <p:xfrm>
          <a:off x="416665" y="1435565"/>
          <a:ext cx="8229600" cy="4693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ример гипотетического анализа</a:t>
                      </a:r>
                      <a:r>
                        <a:rPr lang="en-US" dirty="0">
                          <a:latin typeface="Sylfaen" panose="010A0502050306030303" pitchFamily="18" charset="0"/>
                        </a:rPr>
                        <a:t>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828860">
                <a:tc>
                  <a:txBody>
                    <a:bodyPr/>
                    <a:lstStyle/>
                    <a:p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Охват иммунизацией в целом и по районам или подгруппам населения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Мы, как страна, добились значительного прогресса в охвате иммунизацией, но дети в районах _____ и ______  подвергаются значительно более высокому риску болезней, предотвращаемых вакцинацией. Увеличение инвестиций в иммунизацию для охвата этих семей могло бы повысить уровень образования и познания, что приведет к повышению производительности и экономическому росту в долгосрочной перспективе.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701639"/>
                  </a:ext>
                </a:extLst>
              </a:tr>
              <a:tr h="38252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Расходы 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OOP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на здравоохранение по </a:t>
                      </a:r>
                      <a:r>
                        <a:rPr lang="ru-RU" sz="1600" dirty="0" err="1">
                          <a:latin typeface="Sylfaen" panose="010A0502050306030303" pitchFamily="18" charset="0"/>
                        </a:rPr>
                        <a:t>квинтилю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 благосостояния; охват иммунизацией по </a:t>
                      </a:r>
                      <a:r>
                        <a:rPr lang="ru-RU" sz="1600" dirty="0" err="1">
                          <a:latin typeface="Sylfaen" panose="010A0502050306030303" pitchFamily="18" charset="0"/>
                        </a:rPr>
                        <a:t>квинтилю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 благосостояния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Неимущие дети подвергаются влиянию болезней, предотвращаемых вакцинацией, в значительно большей степени, чем дети из более обеспеченных семей. Высокие издержки на здравоохранение из собственных средств и обнищание из-за</a:t>
                      </a:r>
                      <a:r>
                        <a:rPr lang="ru-RU" sz="1600" baseline="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расходов на здравоохранение также больше влияют на бедные семьи. Иммунизация обеспечивает защиту от финансовых рисков за счет сокращения расходов, связанных с заболеваниями, предотвращаемыми вакцинацией.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6373849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26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86E6EA12-0F4C-4055-BD77-F1A6CFFE7FBD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9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8760" y="18164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7623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196835AC-3E06-43BA-9501-4A0B093D3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92" y="2615897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Если те кто, принимает у вас решения, больше всего заинтересованы в повышении ЭФФЕКТИВНОСТИ И ЭКОНОМИЧНОСТИ</a:t>
            </a:r>
            <a:endParaRPr lang="en-US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4667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9D187-EB66-4715-A5F0-0A5CC5261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11466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- лучшая покупка для здоровья и она дает очевидные результаты, но нужно сделать еще больше (1 из 2)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937ECD-5327-46EF-A63B-1297DD15AB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8017"/>
            <a:ext cx="8229600" cy="3836833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является одним из наиболее рентабельных форм медицинского вмешательства.</a:t>
            </a:r>
          </a:p>
          <a:p>
            <a:endParaRPr lang="ru-RU" sz="1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Другими словами, ресурсы, потраченные на иммунизацию, приносят больше выгоды, чем те же ресурсы, которые тратятся на большинство других вмешательств. </a:t>
            </a:r>
            <a:endParaRPr lang="en-US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Например, исследование 2009 года, моделирующее экономическую эффективность введения </a:t>
            </a:r>
            <a:r>
              <a:rPr lang="ru-RU" dirty="0" err="1">
                <a:latin typeface="Sylfaen" panose="010A0502050306030303" pitchFamily="18" charset="0"/>
              </a:rPr>
              <a:t>ротавирусной</a:t>
            </a:r>
            <a:r>
              <a:rPr lang="ru-RU" dirty="0">
                <a:latin typeface="Sylfaen" panose="010A0502050306030303" pitchFamily="18" charset="0"/>
              </a:rPr>
              <a:t> вакцины в странах </a:t>
            </a:r>
            <a:r>
              <a:rPr lang="en-US" dirty="0">
                <a:latin typeface="Sylfaen" panose="010A0502050306030303" pitchFamily="18" charset="0"/>
              </a:rPr>
              <a:t>Gavi</a:t>
            </a:r>
            <a:r>
              <a:rPr lang="ru-RU" dirty="0">
                <a:latin typeface="Sylfaen" panose="010A0502050306030303" pitchFamily="18" charset="0"/>
              </a:rPr>
              <a:t>, установило, что затраты на год жизни, скорректированные по нетрудоспособности (DALY) составили бы 43 долл. США в период с 2008 по 2025 годы, что было бы очень рентабельным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C4AF49-61C6-494F-A70A-2D57AEE39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8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1333982-2CD0-44FF-B96D-E760D7E081FE}"/>
              </a:ext>
            </a:extLst>
          </p:cNvPr>
          <p:cNvSpPr txBox="1"/>
          <p:nvPr/>
        </p:nvSpPr>
        <p:spPr>
          <a:xfrm>
            <a:off x="443688" y="5110928"/>
            <a:ext cx="82296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ylfaen" panose="010A0502050306030303" pitchFamily="18" charset="0"/>
              </a:rPr>
              <a:t>*</a:t>
            </a:r>
            <a:r>
              <a:rPr lang="en-US" sz="1200" dirty="0">
                <a:latin typeface="Sylfaen" panose="010A0502050306030303" pitchFamily="18" charset="0"/>
              </a:rPr>
              <a:t>Atherly et al. Rotavirus Vaccination: Cost-Effectiveness and Impact on Child Mortality  in Developing Countries, </a:t>
            </a:r>
            <a:r>
              <a:rPr lang="en-US" sz="1200" i="1" dirty="0">
                <a:latin typeface="Sylfaen" panose="010A0502050306030303" pitchFamily="18" charset="0"/>
              </a:rPr>
              <a:t>The Journal of Infectious Diseases</a:t>
            </a:r>
            <a:r>
              <a:rPr lang="en-US" sz="1200" dirty="0">
                <a:latin typeface="Sylfaen" panose="010A0502050306030303" pitchFamily="18" charset="0"/>
              </a:rPr>
              <a:t>, Volume 200, Issue Supplement_1, 1 November 2009, Pages S28–S38, </a:t>
            </a:r>
            <a:r>
              <a:rPr lang="en-US" sz="1200" dirty="0">
                <a:latin typeface="Sylfaen" panose="010A0502050306030303" pitchFamily="18" charset="0"/>
                <a:hlinkClick r:id="rId3"/>
              </a:rPr>
              <a:t>https://doi.org/10.1086/605033</a:t>
            </a:r>
            <a:r>
              <a:rPr lang="en-US" sz="1200" dirty="0">
                <a:latin typeface="Sylfaen" panose="010A0502050306030303" pitchFamily="18" charset="0"/>
              </a:rPr>
              <a:t> </a:t>
            </a: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3A256296-3293-4D70-B009-E8FA05B1A2F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82399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9D187-EB66-4715-A5F0-0A5CC5261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092950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– лучшая инвестиция и она дает очевидные результаты, но нужно сделать еще больше (2 из 2)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937ECD-5327-46EF-A63B-1297DD15AB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523"/>
          </a:xfrm>
        </p:spPr>
        <p:txBody>
          <a:bodyPr>
            <a:normAutofit/>
          </a:bodyPr>
          <a:lstStyle/>
          <a:p>
            <a:r>
              <a:rPr lang="ru-RU" sz="1900" dirty="0">
                <a:latin typeface="Sylfaen" panose="010A0502050306030303" pitchFamily="18" charset="0"/>
              </a:rPr>
              <a:t>С </a:t>
            </a:r>
            <a:r>
              <a:rPr lang="ru-RU" dirty="0">
                <a:latin typeface="Sylfaen" panose="010A0502050306030303" pitchFamily="18" charset="0"/>
              </a:rPr>
              <a:t>появлением новых поставщиков и благодаря международным усилиям по формированию рынков, цены на многие вакцины снизились, что сделало их еще более рентабельными.</a:t>
            </a:r>
          </a:p>
          <a:p>
            <a:pPr marL="0" indent="0">
              <a:buNone/>
            </a:pPr>
            <a:endParaRPr lang="ru-RU" sz="105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Например, вакцина «пятивалентная» пять-в-одном стоила 3,60 долл. США за дозу через службу закупок ЮНИСЕФ в 2005 году. В 2017 году она уже доступна за 0,85 долл. США за дозу.</a:t>
            </a:r>
            <a:r>
              <a:rPr lang="en-US" dirty="0">
                <a:latin typeface="Sylfaen" panose="010A0502050306030303" pitchFamily="18" charset="0"/>
              </a:rPr>
              <a:t> </a:t>
            </a:r>
            <a:endParaRPr lang="ru-RU" dirty="0">
              <a:latin typeface="Sylfaen" panose="010A0502050306030303" pitchFamily="18" charset="0"/>
            </a:endParaRP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В предстоящие годы ожидается большая конкуренция и выбор.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Производители заключили ценовые соглашения, чтобы продолжить поддерживать доступные цены после перехода </a:t>
            </a:r>
            <a:r>
              <a:rPr lang="en-US" dirty="0">
                <a:latin typeface="Sylfaen" panose="010A0502050306030303" pitchFamily="18" charset="0"/>
              </a:rPr>
              <a:t>GAVI</a:t>
            </a:r>
            <a:r>
              <a:rPr lang="ru-RU" dirty="0">
                <a:latin typeface="Sylfaen" panose="010A0502050306030303" pitchFamily="18" charset="0"/>
              </a:rPr>
              <a:t>.  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C4AF49-61C6-494F-A70A-2D57AEE39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9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3A256296-3293-4D70-B009-E8FA05B1A2F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028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45" y="247232"/>
            <a:ext cx="8229600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Почему иммунизация является важной инвестицией?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78587F-672E-43EB-87CE-495103F66784}"/>
              </a:ext>
            </a:extLst>
          </p:cNvPr>
          <p:cNvSpPr txBox="1"/>
          <p:nvPr/>
        </p:nvSpPr>
        <p:spPr>
          <a:xfrm>
            <a:off x="4395270" y="6214210"/>
            <a:ext cx="456562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900" dirty="0">
                <a:solidFill>
                  <a:prstClr val="black"/>
                </a:solidFill>
                <a:latin typeface="Sylfaen" panose="010A0502050306030303" pitchFamily="18" charset="0"/>
              </a:rPr>
              <a:t>По материалам: </a:t>
            </a:r>
            <a:r>
              <a:rPr lang="en-US" sz="900" dirty="0" err="1">
                <a:solidFill>
                  <a:prstClr val="black"/>
                </a:solidFill>
                <a:latin typeface="Sylfaen" panose="010A0502050306030303" pitchFamily="18" charset="0"/>
              </a:rPr>
              <a:t>Palu</a:t>
            </a:r>
            <a:r>
              <a:rPr lang="en-US" sz="900" dirty="0">
                <a:solidFill>
                  <a:prstClr val="black"/>
                </a:solidFill>
                <a:latin typeface="Sylfaen" panose="010A0502050306030303" pitchFamily="18" charset="0"/>
              </a:rPr>
              <a:t>, T. (2016). </a:t>
            </a:r>
          </a:p>
          <a:p>
            <a:pPr algn="r"/>
            <a:r>
              <a:rPr lang="en-US" sz="900" dirty="0">
                <a:solidFill>
                  <a:prstClr val="black"/>
                </a:solidFill>
                <a:latin typeface="Sylfaen" panose="010A0502050306030303" pitchFamily="18" charset="0"/>
              </a:rPr>
              <a:t>Sustainable Immunization Through Universal Health Coverage. World Bank SAGE Meeting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8559BD-B490-4161-A262-804DEE31F925}"/>
              </a:ext>
            </a:extLst>
          </p:cNvPr>
          <p:cNvGrpSpPr/>
          <p:nvPr/>
        </p:nvGrpSpPr>
        <p:grpSpPr>
          <a:xfrm>
            <a:off x="451530" y="1009861"/>
            <a:ext cx="8868035" cy="5061344"/>
            <a:chOff x="430995" y="493284"/>
            <a:chExt cx="8868035" cy="506134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A438E7A-C538-494D-8675-A167A44D6566}"/>
                </a:ext>
              </a:extLst>
            </p:cNvPr>
            <p:cNvSpPr txBox="1"/>
            <p:nvPr/>
          </p:nvSpPr>
          <p:spPr>
            <a:xfrm>
              <a:off x="517047" y="493284"/>
              <a:ext cx="4233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rPr>
                <a:t>Платформа пандемической готовности</a:t>
              </a:r>
              <a:endParaRPr lang="en-US" sz="1600" dirty="0">
                <a:solidFill>
                  <a:srgbClr val="4472C4">
                    <a:lumMod val="50000"/>
                  </a:srgbClr>
                </a:solidFill>
                <a:latin typeface="Sylfaen" panose="010A0502050306030303" pitchFamily="18" charset="0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AC3A3C-8039-4F53-A630-BF17C618EB44}"/>
                </a:ext>
              </a:extLst>
            </p:cNvPr>
            <p:cNvGrpSpPr/>
            <p:nvPr/>
          </p:nvGrpSpPr>
          <p:grpSpPr>
            <a:xfrm>
              <a:off x="430995" y="662560"/>
              <a:ext cx="8868035" cy="4892068"/>
              <a:chOff x="430995" y="662560"/>
              <a:chExt cx="8868035" cy="4892068"/>
            </a:xfrm>
          </p:grpSpPr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451427EB-09B8-4BD5-9B1F-ED5CA1215735}"/>
                  </a:ext>
                </a:extLst>
              </p:cNvPr>
              <p:cNvCxnSpPr>
                <a:cxnSpLocks/>
                <a:stCxn id="97" idx="1"/>
              </p:cNvCxnSpPr>
              <p:nvPr/>
            </p:nvCxnSpPr>
            <p:spPr>
              <a:xfrm rot="10800000" flipV="1">
                <a:off x="456541" y="662560"/>
                <a:ext cx="60507" cy="3302921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1182C4E-E619-477A-98C1-812364E5854E}"/>
                  </a:ext>
                </a:extLst>
              </p:cNvPr>
              <p:cNvSpPr/>
              <p:nvPr/>
            </p:nvSpPr>
            <p:spPr>
              <a:xfrm>
                <a:off x="430995" y="2666795"/>
                <a:ext cx="8255805" cy="2887833"/>
              </a:xfrm>
              <a:prstGeom prst="ellipse">
                <a:avLst/>
              </a:prstGeom>
              <a:solidFill>
                <a:srgbClr val="4472C4">
                  <a:lumMod val="20000"/>
                  <a:lumOff val="80000"/>
                </a:srgbClr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814EF9C-82B9-4299-8F32-84CD0B247DC6}"/>
                  </a:ext>
                </a:extLst>
              </p:cNvPr>
              <p:cNvSpPr/>
              <p:nvPr/>
            </p:nvSpPr>
            <p:spPr>
              <a:xfrm>
                <a:off x="937433" y="2726072"/>
                <a:ext cx="7264375" cy="254103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9B6D8EF-5DA2-4062-9AD3-89D649FD859B}"/>
                  </a:ext>
                </a:extLst>
              </p:cNvPr>
              <p:cNvSpPr/>
              <p:nvPr/>
            </p:nvSpPr>
            <p:spPr>
              <a:xfrm>
                <a:off x="1244611" y="2767219"/>
                <a:ext cx="6670281" cy="2333226"/>
              </a:xfrm>
              <a:prstGeom prst="ellipse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79EF77D5-CE36-4E1B-AA43-B898E087E97A}"/>
                  </a:ext>
                </a:extLst>
              </p:cNvPr>
              <p:cNvSpPr/>
              <p:nvPr/>
            </p:nvSpPr>
            <p:spPr>
              <a:xfrm>
                <a:off x="1623952" y="2833672"/>
                <a:ext cx="5865654" cy="205177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901C9EE-F76F-451F-AE4C-6EAB9A0FD3C4}"/>
                  </a:ext>
                </a:extLst>
              </p:cNvPr>
              <p:cNvSpPr/>
              <p:nvPr/>
            </p:nvSpPr>
            <p:spPr>
              <a:xfrm>
                <a:off x="1942550" y="2872535"/>
                <a:ext cx="5259574" cy="1839769"/>
              </a:xfrm>
              <a:prstGeom prst="ellipse">
                <a:avLst/>
              </a:prstGeom>
              <a:solidFill>
                <a:srgbClr val="4472C4">
                  <a:lumMod val="60000"/>
                  <a:lumOff val="40000"/>
                </a:srgbClr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EDD2029-2F11-4480-8A51-F0922F29A263}"/>
                  </a:ext>
                </a:extLst>
              </p:cNvPr>
              <p:cNvSpPr/>
              <p:nvPr/>
            </p:nvSpPr>
            <p:spPr>
              <a:xfrm>
                <a:off x="2335930" y="2934717"/>
                <a:ext cx="4480560" cy="1567274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534C8A-9C93-4051-9B07-3CE45FFBE051}"/>
                  </a:ext>
                </a:extLst>
              </p:cNvPr>
              <p:cNvSpPr/>
              <p:nvPr/>
            </p:nvSpPr>
            <p:spPr>
              <a:xfrm>
                <a:off x="2650255" y="2996785"/>
                <a:ext cx="3813048" cy="1333782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C1D085B-111C-4E98-BBBA-A1376448EECC}"/>
                  </a:ext>
                </a:extLst>
              </p:cNvPr>
              <p:cNvSpPr/>
              <p:nvPr/>
            </p:nvSpPr>
            <p:spPr>
              <a:xfrm>
                <a:off x="3179464" y="3063839"/>
                <a:ext cx="2772918" cy="106485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cxnSp>
            <p:nvCxnSpPr>
              <p:cNvPr id="85" name="Connector: Elbow 84">
                <a:extLst>
                  <a:ext uri="{FF2B5EF4-FFF2-40B4-BE49-F238E27FC236}">
                    <a16:creationId xmlns:a16="http://schemas.microsoft.com/office/drawing/2014/main" id="{602FF6F4-247F-49E7-AE91-45F0BE7A2D5F}"/>
                  </a:ext>
                </a:extLst>
              </p:cNvPr>
              <p:cNvCxnSpPr>
                <a:cxnSpLocks/>
                <a:stCxn id="94" idx="1"/>
              </p:cNvCxnSpPr>
              <p:nvPr/>
            </p:nvCxnSpPr>
            <p:spPr>
              <a:xfrm rot="10800000" flipV="1">
                <a:off x="5602053" y="1750606"/>
                <a:ext cx="191476" cy="1806879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1620885-999B-48CB-AD2E-EECD51136B07}"/>
                  </a:ext>
                </a:extLst>
              </p:cNvPr>
              <p:cNvSpPr/>
              <p:nvPr/>
            </p:nvSpPr>
            <p:spPr>
              <a:xfrm>
                <a:off x="3482359" y="3106930"/>
                <a:ext cx="2148840" cy="847944"/>
              </a:xfrm>
              <a:prstGeom prst="ellipse">
                <a:avLst/>
              </a:prstGeom>
              <a:solidFill>
                <a:srgbClr val="4472C4">
                  <a:lumMod val="75000"/>
                </a:srgbClr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D49D715-3DAB-45E4-8A17-5AB1D1519E44}"/>
                  </a:ext>
                </a:extLst>
              </p:cNvPr>
              <p:cNvSpPr/>
              <p:nvPr/>
            </p:nvSpPr>
            <p:spPr>
              <a:xfrm>
                <a:off x="3817258" y="3153712"/>
                <a:ext cx="1479042" cy="550926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A8C8DBD-3A4A-462D-8CF5-C3015D3BCC75}"/>
                  </a:ext>
                </a:extLst>
              </p:cNvPr>
              <p:cNvGrpSpPr/>
              <p:nvPr/>
            </p:nvGrpSpPr>
            <p:grpSpPr>
              <a:xfrm>
                <a:off x="4080148" y="2307258"/>
                <a:ext cx="953262" cy="1223645"/>
                <a:chOff x="5550408" y="2099226"/>
                <a:chExt cx="1271016" cy="1631526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F89E0C56-83FB-430D-9A8E-1DFF16E5A98C}"/>
                    </a:ext>
                  </a:extLst>
                </p:cNvPr>
                <p:cNvSpPr/>
                <p:nvPr/>
              </p:nvSpPr>
              <p:spPr>
                <a:xfrm>
                  <a:off x="5550408" y="3300984"/>
                  <a:ext cx="1271016" cy="429768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32916E2B-D9B9-4DB6-A2C5-F0F7E10268BE}"/>
                    </a:ext>
                  </a:extLst>
                </p:cNvPr>
                <p:cNvSpPr/>
                <p:nvPr/>
              </p:nvSpPr>
              <p:spPr>
                <a:xfrm>
                  <a:off x="5734514" y="2777693"/>
                  <a:ext cx="902801" cy="655882"/>
                </a:xfrm>
                <a:custGeom>
                  <a:avLst/>
                  <a:gdLst>
                    <a:gd name="connsiteX0" fmla="*/ 451401 w 902801"/>
                    <a:gd name="connsiteY0" fmla="*/ 0 h 655882"/>
                    <a:gd name="connsiteX1" fmla="*/ 691091 w 902801"/>
                    <a:gd name="connsiteY1" fmla="*/ 14744 h 655882"/>
                    <a:gd name="connsiteX2" fmla="*/ 808392 w 902801"/>
                    <a:gd name="connsiteY2" fmla="*/ 37687 h 655882"/>
                    <a:gd name="connsiteX3" fmla="*/ 715762 w 902801"/>
                    <a:gd name="connsiteY3" fmla="*/ 106766 h 655882"/>
                    <a:gd name="connsiteX4" fmla="*/ 674339 w 902801"/>
                    <a:gd name="connsiteY4" fmla="*/ 152161 h 655882"/>
                    <a:gd name="connsiteX5" fmla="*/ 673141 w 902801"/>
                    <a:gd name="connsiteY5" fmla="*/ 154095 h 655882"/>
                    <a:gd name="connsiteX6" fmla="*/ 611512 w 902801"/>
                    <a:gd name="connsiteY6" fmla="*/ 200292 h 655882"/>
                    <a:gd name="connsiteX7" fmla="*/ 548169 w 902801"/>
                    <a:gd name="connsiteY7" fmla="*/ 327941 h 655882"/>
                    <a:gd name="connsiteX8" fmla="*/ 784250 w 902801"/>
                    <a:gd name="connsiteY8" fmla="*/ 559831 h 655882"/>
                    <a:gd name="connsiteX9" fmla="*/ 902801 w 902801"/>
                    <a:gd name="connsiteY9" fmla="*/ 599626 h 655882"/>
                    <a:gd name="connsiteX10" fmla="*/ 902062 w 902801"/>
                    <a:gd name="connsiteY10" fmla="*/ 599875 h 655882"/>
                    <a:gd name="connsiteX11" fmla="*/ 451401 w 902801"/>
                    <a:gd name="connsiteY11" fmla="*/ 655882 h 655882"/>
                    <a:gd name="connsiteX12" fmla="*/ 741 w 902801"/>
                    <a:gd name="connsiteY12" fmla="*/ 599875 h 655882"/>
                    <a:gd name="connsiteX13" fmla="*/ 0 w 902801"/>
                    <a:gd name="connsiteY13" fmla="*/ 599626 h 655882"/>
                    <a:gd name="connsiteX14" fmla="*/ 118551 w 902801"/>
                    <a:gd name="connsiteY14" fmla="*/ 559831 h 655882"/>
                    <a:gd name="connsiteX15" fmla="*/ 354632 w 902801"/>
                    <a:gd name="connsiteY15" fmla="*/ 327941 h 655882"/>
                    <a:gd name="connsiteX16" fmla="*/ 291291 w 902801"/>
                    <a:gd name="connsiteY16" fmla="*/ 200292 h 655882"/>
                    <a:gd name="connsiteX17" fmla="*/ 264648 w 902801"/>
                    <a:gd name="connsiteY17" fmla="*/ 180321 h 655882"/>
                    <a:gd name="connsiteX18" fmla="*/ 244875 w 902801"/>
                    <a:gd name="connsiteY18" fmla="*/ 148399 h 655882"/>
                    <a:gd name="connsiteX19" fmla="*/ 203452 w 902801"/>
                    <a:gd name="connsiteY19" fmla="*/ 103003 h 655882"/>
                    <a:gd name="connsiteX20" fmla="*/ 111408 w 902801"/>
                    <a:gd name="connsiteY20" fmla="*/ 34362 h 655882"/>
                    <a:gd name="connsiteX21" fmla="*/ 211712 w 902801"/>
                    <a:gd name="connsiteY21" fmla="*/ 14744 h 655882"/>
                    <a:gd name="connsiteX22" fmla="*/ 451401 w 902801"/>
                    <a:gd name="connsiteY22" fmla="*/ 0 h 655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902801" h="655882">
                      <a:moveTo>
                        <a:pt x="451401" y="0"/>
                      </a:moveTo>
                      <a:cubicBezTo>
                        <a:pt x="534869" y="0"/>
                        <a:pt x="615374" y="5162"/>
                        <a:pt x="691091" y="14744"/>
                      </a:cubicBezTo>
                      <a:lnTo>
                        <a:pt x="808392" y="37687"/>
                      </a:lnTo>
                      <a:lnTo>
                        <a:pt x="715762" y="106766"/>
                      </a:lnTo>
                      <a:cubicBezTo>
                        <a:pt x="699773" y="121945"/>
                        <a:pt x="685886" y="137152"/>
                        <a:pt x="674339" y="152161"/>
                      </a:cubicBezTo>
                      <a:lnTo>
                        <a:pt x="673141" y="154095"/>
                      </a:lnTo>
                      <a:lnTo>
                        <a:pt x="611512" y="200292"/>
                      </a:lnTo>
                      <a:cubicBezTo>
                        <a:pt x="570724" y="239526"/>
                        <a:pt x="548169" y="282662"/>
                        <a:pt x="548169" y="327941"/>
                      </a:cubicBezTo>
                      <a:cubicBezTo>
                        <a:pt x="548169" y="418500"/>
                        <a:pt x="638388" y="500485"/>
                        <a:pt x="784250" y="559831"/>
                      </a:cubicBezTo>
                      <a:lnTo>
                        <a:pt x="902801" y="599626"/>
                      </a:lnTo>
                      <a:lnTo>
                        <a:pt x="902062" y="599875"/>
                      </a:lnTo>
                      <a:cubicBezTo>
                        <a:pt x="773418" y="635235"/>
                        <a:pt x="618337" y="655882"/>
                        <a:pt x="451401" y="655882"/>
                      </a:cubicBezTo>
                      <a:cubicBezTo>
                        <a:pt x="284466" y="655882"/>
                        <a:pt x="129385" y="635235"/>
                        <a:pt x="741" y="599875"/>
                      </a:cubicBezTo>
                      <a:lnTo>
                        <a:pt x="0" y="599626"/>
                      </a:lnTo>
                      <a:lnTo>
                        <a:pt x="118551" y="559831"/>
                      </a:lnTo>
                      <a:cubicBezTo>
                        <a:pt x="264416" y="500485"/>
                        <a:pt x="354632" y="418500"/>
                        <a:pt x="354632" y="327941"/>
                      </a:cubicBezTo>
                      <a:cubicBezTo>
                        <a:pt x="354632" y="282662"/>
                        <a:pt x="332078" y="239526"/>
                        <a:pt x="291291" y="200292"/>
                      </a:cubicBezTo>
                      <a:lnTo>
                        <a:pt x="264648" y="180321"/>
                      </a:lnTo>
                      <a:lnTo>
                        <a:pt x="244875" y="148399"/>
                      </a:lnTo>
                      <a:cubicBezTo>
                        <a:pt x="233327" y="133389"/>
                        <a:pt x="219441" y="118182"/>
                        <a:pt x="203452" y="103003"/>
                      </a:cubicBezTo>
                      <a:lnTo>
                        <a:pt x="111408" y="34362"/>
                      </a:lnTo>
                      <a:lnTo>
                        <a:pt x="211712" y="14744"/>
                      </a:lnTo>
                      <a:cubicBezTo>
                        <a:pt x="287430" y="5162"/>
                        <a:pt x="367934" y="0"/>
                        <a:pt x="451401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6F454860-CF97-4E0B-8166-126C849EB2FD}"/>
                    </a:ext>
                  </a:extLst>
                </p:cNvPr>
                <p:cNvSpPr/>
                <p:nvPr/>
              </p:nvSpPr>
              <p:spPr>
                <a:xfrm>
                  <a:off x="5734515" y="2099226"/>
                  <a:ext cx="902801" cy="892956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</p:grp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C007537-8714-4A62-88BA-DD3A836C7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381498" y="2398068"/>
                <a:ext cx="368853" cy="432054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B6E651C-A616-42E8-AF68-7D0496F98F6B}"/>
                  </a:ext>
                </a:extLst>
              </p:cNvPr>
              <p:cNvSpPr txBox="1"/>
              <p:nvPr/>
            </p:nvSpPr>
            <p:spPr>
              <a:xfrm>
                <a:off x="5209833" y="834926"/>
                <a:ext cx="3758022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Отправная точка для оказания медицинских услуг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E22D186-4369-45C1-9507-7BFBE4D1C401}"/>
                  </a:ext>
                </a:extLst>
              </p:cNvPr>
              <p:cNvSpPr txBox="1"/>
              <p:nvPr/>
            </p:nvSpPr>
            <p:spPr>
              <a:xfrm>
                <a:off x="5793529" y="1458219"/>
                <a:ext cx="350550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Улучшение здоровья, снижение смертност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82E6C5D-9B1A-400E-AB65-DAA048DC5378}"/>
                  </a:ext>
                </a:extLst>
              </p:cNvPr>
              <p:cNvSpPr txBox="1"/>
              <p:nvPr/>
            </p:nvSpPr>
            <p:spPr>
              <a:xfrm>
                <a:off x="6511169" y="2047039"/>
                <a:ext cx="2337976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Самая эффективная инвестиция в здравоохранени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4A657D5-F019-488B-B138-B9156ECF6E58}"/>
                  </a:ext>
                </a:extLst>
              </p:cNvPr>
              <p:cNvSpPr txBox="1"/>
              <p:nvPr/>
            </p:nvSpPr>
            <p:spPr>
              <a:xfrm>
                <a:off x="7346652" y="2880491"/>
                <a:ext cx="190939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Ориентированное на интересы малоимущих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917DEE8-2613-431D-A6F3-5AEDC15A5E56}"/>
                  </a:ext>
                </a:extLst>
              </p:cNvPr>
              <p:cNvSpPr txBox="1"/>
              <p:nvPr/>
            </p:nvSpPr>
            <p:spPr>
              <a:xfrm>
                <a:off x="1099737" y="872639"/>
                <a:ext cx="3933673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Снижение будущей бремени на систему здравоохранения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cxnSp>
            <p:nvCxnSpPr>
              <p:cNvPr id="99" name="Connector: Elbow 98">
                <a:extLst>
                  <a:ext uri="{FF2B5EF4-FFF2-40B4-BE49-F238E27FC236}">
                    <a16:creationId xmlns:a16="http://schemas.microsoft.com/office/drawing/2014/main" id="{CC3A303C-6451-435F-84E0-87FEEAC725B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71752" y="1100382"/>
                <a:ext cx="152611" cy="157734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4B22CA2-4526-45B1-BC95-1CAE98017E2D}"/>
                  </a:ext>
                </a:extLst>
              </p:cNvPr>
              <p:cNvSpPr txBox="1"/>
              <p:nvPr/>
            </p:nvSpPr>
            <p:spPr>
              <a:xfrm>
                <a:off x="1766130" y="1415476"/>
                <a:ext cx="316030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Повышение производительност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0D31F766-5686-4B83-9DFF-E4AA623B22EC}"/>
                  </a:ext>
                </a:extLst>
              </p:cNvPr>
              <p:cNvSpPr txBox="1"/>
              <p:nvPr/>
            </p:nvSpPr>
            <p:spPr>
              <a:xfrm>
                <a:off x="2363578" y="1792832"/>
                <a:ext cx="2787318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Улучшенные познания, уровень образования, питание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</p:grpSp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2E8DCC66-E8A7-46B7-8580-32E324FDBA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6407" y="2110199"/>
            <a:ext cx="38457" cy="1712566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CC693F5A-F7BF-44F2-B47B-FE7845B0B60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12419" y="1666573"/>
            <a:ext cx="59892" cy="2171020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58EC386-1C51-4469-AED3-6684CA062F32}"/>
              </a:ext>
            </a:extLst>
          </p:cNvPr>
          <p:cNvCxnSpPr>
            <a:cxnSpLocks/>
          </p:cNvCxnSpPr>
          <p:nvPr/>
        </p:nvCxnSpPr>
        <p:spPr>
          <a:xfrm rot="5400000">
            <a:off x="1835814" y="298780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B707848-FF38-4C02-8417-77EE25EBCCA8}"/>
              </a:ext>
            </a:extLst>
          </p:cNvPr>
          <p:cNvCxnSpPr>
            <a:cxnSpLocks/>
          </p:cNvCxnSpPr>
          <p:nvPr/>
        </p:nvCxnSpPr>
        <p:spPr>
          <a:xfrm rot="5400000">
            <a:off x="5981191" y="322393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91FA243-0573-4F0F-896F-3507E3A11FBC}"/>
              </a:ext>
            </a:extLst>
          </p:cNvPr>
          <p:cNvCxnSpPr>
            <a:cxnSpLocks/>
          </p:cNvCxnSpPr>
          <p:nvPr/>
        </p:nvCxnSpPr>
        <p:spPr>
          <a:xfrm rot="5400000">
            <a:off x="7058713" y="3625106"/>
            <a:ext cx="564032" cy="125101"/>
          </a:xfrm>
          <a:prstGeom prst="bentConnector3">
            <a:avLst>
              <a:gd name="adj1" fmla="val 716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3165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9758A-559A-4713-8213-7162F3188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57846" cy="1143000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ведет к сокращению будущей бремени на систему здравоохранения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C0213-F697-4963-8E25-043BD5401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51161"/>
          </a:xfrm>
        </p:spPr>
        <p:txBody>
          <a:bodyPr/>
          <a:lstStyle/>
          <a:p>
            <a:r>
              <a:rPr lang="ru-RU" sz="2400" dirty="0">
                <a:latin typeface="Sylfaen" panose="010A0502050306030303" pitchFamily="18" charset="0"/>
              </a:rPr>
              <a:t>Предотвращая инфекционные заболевания, иммунизация может высвободить ограниченные ресурсы здравоохранения для решения других приоритетов, включая неинфекционные болезни.</a:t>
            </a:r>
            <a:endParaRPr lang="en-US" sz="2400" dirty="0">
              <a:latin typeface="Sylfaen" panose="010A0502050306030303" pitchFamily="18" charset="0"/>
            </a:endParaRPr>
          </a:p>
          <a:p>
            <a:pPr lvl="1"/>
            <a:endParaRPr lang="en-US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F91557-4042-4D25-A1EE-03563ED14A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30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67A25E7-C6FC-4BBB-A283-A5EE8BC9853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81737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8451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9758A-559A-4713-8213-7162F3188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57846" cy="1143000"/>
          </a:xfrm>
        </p:spPr>
        <p:txBody>
          <a:bodyPr>
            <a:noAutofit/>
          </a:bodyPr>
          <a:lstStyle/>
          <a:p>
            <a:r>
              <a:rPr lang="ru-RU" sz="2100" dirty="0">
                <a:latin typeface="Sylfaen" panose="010A0502050306030303" pitchFamily="18" charset="0"/>
              </a:rPr>
              <a:t>Программы иммунизации - это больше, чем финансирование вакцин - нам необходимо полностью финансировать операционные расходы программ и стратегий доставки</a:t>
            </a:r>
            <a:endParaRPr lang="en-US" sz="2100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C0213-F697-4963-8E25-043BD5401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51161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ограммы зависят не только от вакцин, но и от всех элементов программы – с тем, чтобы эффективно доставлять их и отслеживать прогресс:</a:t>
            </a:r>
          </a:p>
          <a:p>
            <a:pPr lvl="1"/>
            <a:r>
              <a:rPr lang="ru-RU" sz="2000" dirty="0">
                <a:latin typeface="Sylfaen" panose="010A0502050306030303" pitchFamily="18" charset="0"/>
              </a:rPr>
              <a:t>Системы цепи поставок </a:t>
            </a:r>
          </a:p>
          <a:p>
            <a:pPr lvl="1"/>
            <a:r>
              <a:rPr lang="ru-RU" sz="2000" dirty="0">
                <a:latin typeface="Sylfaen" panose="010A0502050306030303" pitchFamily="18" charset="0"/>
              </a:rPr>
              <a:t>Мониторинг и наблюдение</a:t>
            </a:r>
          </a:p>
          <a:p>
            <a:pPr lvl="1"/>
            <a:r>
              <a:rPr lang="ru-RU" sz="2000" dirty="0">
                <a:latin typeface="Sylfaen" panose="010A0502050306030303" pitchFamily="18" charset="0"/>
              </a:rPr>
              <a:t>Планирование и поддерживающий надзор</a:t>
            </a:r>
          </a:p>
          <a:p>
            <a:pPr lvl="1"/>
            <a:r>
              <a:rPr lang="ru-RU" sz="2000" dirty="0">
                <a:latin typeface="Sylfaen" panose="010A0502050306030303" pitchFamily="18" charset="0"/>
              </a:rPr>
              <a:t>Обучение персонала</a:t>
            </a:r>
          </a:p>
          <a:p>
            <a:pPr lvl="1"/>
            <a:r>
              <a:rPr lang="ru-RU" sz="2000" dirty="0">
                <a:latin typeface="Sylfaen" panose="010A0502050306030303" pitchFamily="18" charset="0"/>
              </a:rPr>
              <a:t>Пропаганда </a:t>
            </a:r>
            <a:endParaRPr lang="en-US" sz="2000" dirty="0">
              <a:latin typeface="Sylfaen" panose="010A0502050306030303" pitchFamily="18" charset="0"/>
            </a:endParaRPr>
          </a:p>
          <a:p>
            <a:pPr lvl="1"/>
            <a:endParaRPr lang="en-US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Программы иммунизации зависят от сильных систем первичной медико-санитарной помощи</a:t>
            </a:r>
            <a:endParaRPr lang="en-US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F91557-4042-4D25-A1EE-03563ED14A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31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67A25E7-C6FC-4BBB-A283-A5EE8BC9853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51850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706563" cy="1143000"/>
          </a:xfrm>
        </p:spPr>
        <p:txBody>
          <a:bodyPr>
            <a:normAutofit/>
          </a:bodyPr>
          <a:lstStyle/>
          <a:p>
            <a:r>
              <a:rPr lang="ru-RU" sz="2000" dirty="0">
                <a:latin typeface="Sylfaen" panose="010A0502050306030303" pitchFamily="18" charset="0"/>
              </a:rPr>
              <a:t>Использование данных для демонстрации того, что иммунизация в вашей стране дает очевидные экономические результаты (и что многое еще нужно сделать)</a:t>
            </a:r>
            <a:endParaRPr lang="en-US" sz="2000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4016444"/>
              </p:ext>
            </p:extLst>
          </p:nvPr>
        </p:nvGraphicFramePr>
        <p:xfrm>
          <a:off x="457200" y="1417638"/>
          <a:ext cx="8229600" cy="33919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83990"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ример гипотетического анализа</a:t>
                      </a:r>
                      <a:r>
                        <a:rPr lang="en-US" dirty="0">
                          <a:latin typeface="Sylfaen" panose="010A0502050306030303" pitchFamily="18" charset="0"/>
                        </a:rPr>
                        <a:t>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1631958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Расходы на вакцины, общая численность населения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Вакцины - это мощная инвестиция, и они недороги. Наша страна тратит 0,76 долл. США на душу населения на 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EPI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вакцины. Это позволило нам добиться больших успехов в области здравоохранения. Умеренное увеличение затрат позволит получить еще большую выгоду.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6373849"/>
                  </a:ext>
                </a:extLst>
              </a:tr>
              <a:tr h="1375964">
                <a:tc>
                  <a:txBody>
                    <a:bodyPr/>
                    <a:lstStyle/>
                    <a:p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Сэкономленные расходы на госпитализацию и другие примеры экономии в системе здравоохранения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PCV 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(пневмококковая конъюгированная вакцина) предотвращает расходы на госпитализацию при лечении пневмонии и инвазивных заболеваний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Вакцинация Гепатита В предотвращает затраты на лечение цирроза и случаев рака печени 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18426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32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E4A38701-78D7-4AAC-90C9-DAB7C68F6C7D}"/>
              </a:ext>
            </a:extLst>
          </p:cNvPr>
          <p:cNvSpPr/>
          <p:nvPr/>
        </p:nvSpPr>
        <p:spPr>
          <a:xfrm>
            <a:off x="8013119" y="59056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32836C-114D-431B-B61B-7FE33DA5C427}"/>
              </a:ext>
            </a:extLst>
          </p:cNvPr>
          <p:cNvSpPr txBox="1"/>
          <p:nvPr/>
        </p:nvSpPr>
        <p:spPr>
          <a:xfrm>
            <a:off x="506361" y="4890122"/>
            <a:ext cx="8057536" cy="92333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Возможно, вы захотите рассмотреть вопрос о проведении калькуляции затрат на национальные программы, чтобы лучше понять различия в расходах и стоимости доставки вакцин с помощью различных стратегий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9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8018300" y="5972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3938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1BB3AA8-EBB0-43C4-992A-CE04984C75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883" y="2310787"/>
            <a:ext cx="8229600" cy="1143000"/>
          </a:xfrm>
        </p:spPr>
        <p:txBody>
          <a:bodyPr>
            <a:normAutofit fontScale="90000"/>
          </a:bodyPr>
          <a:lstStyle/>
          <a:p>
            <a:pPr algn="just"/>
            <a:r>
              <a:rPr lang="ru-RU" dirty="0">
                <a:latin typeface="Sylfaen" panose="010A0502050306030303" pitchFamily="18" charset="0"/>
              </a:rPr>
              <a:t>Ключевые </a:t>
            </a:r>
            <a:r>
              <a:rPr lang="ru-RU" dirty="0" err="1">
                <a:latin typeface="Sylfaen" panose="010A0502050306030303" pitchFamily="18" charset="0"/>
              </a:rPr>
              <a:t>тезиы</a:t>
            </a:r>
            <a:r>
              <a:rPr lang="ru-RU" dirty="0">
                <a:latin typeface="Sylfaen" panose="010A0502050306030303" pitchFamily="18" charset="0"/>
              </a:rPr>
              <a:t> по поддержке конкретных инвестиционных потребностей иммунизации в различных ситуациях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6E5F2C-CFA6-4001-801E-012B6A50EE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33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461187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1462122-9715-45BF-AF6B-8197EC9C4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39539"/>
            <a:ext cx="8229600" cy="1143000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Ситуации, в которых можно будет извлечь выгоду из конкретных тезисов по поддержке инвестиций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D57422-7D7E-4578-A29C-6698088C85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40268"/>
            <a:ext cx="8460480" cy="4769020"/>
          </a:xfrm>
        </p:spPr>
        <p:txBody>
          <a:bodyPr>
            <a:no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едставление требований перехода </a:t>
            </a:r>
            <a:r>
              <a:rPr lang="en-US" dirty="0">
                <a:latin typeface="Sylfaen" panose="010A0502050306030303" pitchFamily="18" charset="0"/>
              </a:rPr>
              <a:t>GAVI</a:t>
            </a:r>
            <a:r>
              <a:rPr lang="ru-RU" dirty="0">
                <a:latin typeface="Sylfaen" panose="010A0502050306030303" pitchFamily="18" charset="0"/>
              </a:rPr>
              <a:t> лицам, принимающим решения</a:t>
            </a:r>
          </a:p>
          <a:p>
            <a:endParaRPr lang="ru-RU" sz="9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Представление инвестиционных требований для холодовой цепи лицам, принимающим решения</a:t>
            </a:r>
          </a:p>
          <a:p>
            <a:endParaRPr lang="ru-RU" sz="8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Представление доказательств в пользу введения новой вакцины лицам, принимающим решения</a:t>
            </a:r>
          </a:p>
          <a:p>
            <a:endParaRPr lang="ru-RU" sz="105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Представление доказательств в пользу своевременного выделения бюджета на закупку вакцин</a:t>
            </a:r>
          </a:p>
          <a:p>
            <a:endParaRPr lang="ru-RU" sz="105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Представление лицам, принимающим решения, доказательств необходимости увеличения финансирования для улучшения охвата/справедливости распределения</a:t>
            </a:r>
          </a:p>
          <a:p>
            <a:pPr marL="0" indent="0">
              <a:buNone/>
            </a:pPr>
            <a:endParaRPr lang="en-US" sz="2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Представление доказательств безопасности вакцин лицам, принимающим решения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11705D-2CA3-4D85-A704-FFADC95909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34</a:t>
            </a:fld>
            <a:r>
              <a:rPr lang="en-US">
                <a:latin typeface="Arial"/>
                <a:cs typeface="Arial"/>
              </a:rPr>
              <a:t> | www.lnct.global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14263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66916"/>
            <a:ext cx="8229600" cy="1143000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едставление требований перехода </a:t>
            </a:r>
            <a:r>
              <a:rPr lang="en-US" dirty="0">
                <a:latin typeface="Sylfaen" panose="010A0502050306030303" pitchFamily="18" charset="0"/>
              </a:rPr>
              <a:t>GAVI </a:t>
            </a:r>
            <a:r>
              <a:rPr lang="ru-RU" dirty="0">
                <a:latin typeface="Sylfaen" panose="010A0502050306030303" pitchFamily="18" charset="0"/>
              </a:rPr>
              <a:t>лицам, принимающим решения</a:t>
            </a:r>
            <a:endParaRPr lang="en-US" dirty="0">
              <a:solidFill>
                <a:schemeClr val="accent5"/>
              </a:solidFill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9698" y="1215898"/>
            <a:ext cx="8687982" cy="4782530"/>
          </a:xfrm>
        </p:spPr>
        <p:txBody>
          <a:bodyPr>
            <a:normAutofit fontScale="77500" lnSpcReduction="20000"/>
          </a:bodyPr>
          <a:lstStyle/>
          <a:p>
            <a:r>
              <a:rPr lang="ru-RU" sz="2600" dirty="0">
                <a:latin typeface="Sylfaen" panose="010A0502050306030303" pitchFamily="18" charset="0"/>
              </a:rPr>
              <a:t>Переход </a:t>
            </a:r>
            <a:r>
              <a:rPr lang="en-US" sz="2600" dirty="0">
                <a:latin typeface="Sylfaen" panose="010A0502050306030303" pitchFamily="18" charset="0"/>
              </a:rPr>
              <a:t>GAVI </a:t>
            </a:r>
            <a:r>
              <a:rPr lang="ru-RU" sz="2600" dirty="0">
                <a:latin typeface="Sylfaen" panose="010A0502050306030303" pitchFamily="18" charset="0"/>
              </a:rPr>
              <a:t>требует быстрого увеличения правительственного со-финансирования </a:t>
            </a:r>
            <a:r>
              <a:rPr lang="ru-RU" sz="2600" i="1" dirty="0">
                <a:latin typeface="Sylfaen" panose="010A0502050306030303" pitchFamily="18" charset="0"/>
              </a:rPr>
              <a:t>{изменить в зависимости от ситуации в вашей стране}</a:t>
            </a:r>
          </a:p>
          <a:p>
            <a:endParaRPr lang="ru-RU" sz="1600" dirty="0">
              <a:latin typeface="Sylfaen" panose="010A0502050306030303" pitchFamily="18" charset="0"/>
            </a:endParaRPr>
          </a:p>
          <a:p>
            <a:r>
              <a:rPr lang="ru-RU" sz="2600" dirty="0">
                <a:latin typeface="Sylfaen" panose="010A0502050306030303" pitchFamily="18" charset="0"/>
              </a:rPr>
              <a:t>Переход</a:t>
            </a:r>
            <a:r>
              <a:rPr lang="en-US" sz="2600" dirty="0">
                <a:latin typeface="Sylfaen" panose="010A0502050306030303" pitchFamily="18" charset="0"/>
              </a:rPr>
              <a:t> </a:t>
            </a:r>
            <a:r>
              <a:rPr lang="ru-RU" sz="2600" dirty="0">
                <a:latin typeface="Sylfaen" panose="010A0502050306030303" pitchFamily="18" charset="0"/>
              </a:rPr>
              <a:t>определяется политикой приемлемости </a:t>
            </a:r>
            <a:r>
              <a:rPr lang="en-US" sz="2600" dirty="0">
                <a:latin typeface="Sylfaen" panose="010A0502050306030303" pitchFamily="18" charset="0"/>
              </a:rPr>
              <a:t>GAVI</a:t>
            </a:r>
            <a:r>
              <a:rPr lang="ru-RU" sz="2600" dirty="0">
                <a:latin typeface="Sylfaen" panose="010A0502050306030303" pitchFamily="18" charset="0"/>
              </a:rPr>
              <a:t>: сроки не подлежат обсуждению </a:t>
            </a:r>
            <a:endParaRPr lang="en-US" sz="2600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en-US" sz="1100" dirty="0">
              <a:latin typeface="Sylfaen" panose="010A0502050306030303" pitchFamily="18" charset="0"/>
            </a:endParaRPr>
          </a:p>
          <a:p>
            <a:r>
              <a:rPr lang="ru-RU" sz="2600" dirty="0">
                <a:latin typeface="Sylfaen" panose="010A0502050306030303" pitchFamily="18" charset="0"/>
              </a:rPr>
              <a:t>Поддержка </a:t>
            </a:r>
            <a:r>
              <a:rPr lang="en-US" sz="2600" dirty="0">
                <a:latin typeface="Sylfaen" panose="010A0502050306030303" pitchFamily="18" charset="0"/>
              </a:rPr>
              <a:t>GAVI </a:t>
            </a:r>
            <a:r>
              <a:rPr lang="ru-RU" sz="2600" dirty="0">
                <a:latin typeface="Sylfaen" panose="010A0502050306030303" pitchFamily="18" charset="0"/>
              </a:rPr>
              <a:t>помогла стране внедрить X спасающих жизни вакцин  </a:t>
            </a:r>
            <a:endParaRPr lang="en-US" sz="2600" dirty="0">
              <a:latin typeface="Sylfaen" panose="010A0502050306030303" pitchFamily="18" charset="0"/>
            </a:endParaRPr>
          </a:p>
          <a:p>
            <a:endParaRPr lang="en-US" dirty="0">
              <a:latin typeface="Sylfaen" panose="010A0502050306030303" pitchFamily="18" charset="0"/>
            </a:endParaRPr>
          </a:p>
          <a:p>
            <a:r>
              <a:rPr lang="ru-RU" sz="2600" dirty="0">
                <a:latin typeface="Sylfaen" panose="010A0502050306030303" pitchFamily="18" charset="0"/>
              </a:rPr>
              <a:t>Этим вакцинам характерна высокая отдача от инвестиций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600" dirty="0">
                <a:latin typeface="Sylfaen" panose="010A0502050306030303" pitchFamily="18" charset="0"/>
              </a:rPr>
              <a:t>Изъятие вакцины из текущего графика будет иметь отрицательные, потенциально более дорогостоящие, медицинские и экономические последствия </a:t>
            </a:r>
          </a:p>
          <a:p>
            <a:endParaRPr lang="ru-RU" sz="1400" dirty="0">
              <a:latin typeface="Sylfaen" panose="010A0502050306030303" pitchFamily="18" charset="0"/>
            </a:endParaRPr>
          </a:p>
          <a:p>
            <a:r>
              <a:rPr lang="ru-RU" sz="2600" dirty="0">
                <a:latin typeface="Sylfaen" panose="010A0502050306030303" pitchFamily="18" charset="0"/>
              </a:rPr>
              <a:t>Необходимо поддерживать или увеличивать охват и справедливость распределения, что потребует дополнительных ресурсов</a:t>
            </a:r>
            <a:r>
              <a:rPr lang="en-US" sz="2600" dirty="0">
                <a:solidFill>
                  <a:schemeClr val="tx1"/>
                </a:solidFill>
                <a:latin typeface="Sylfaen" panose="010A0502050306030303" pitchFamily="18" charset="0"/>
              </a:rPr>
              <a:t> </a:t>
            </a:r>
          </a:p>
          <a:p>
            <a:endParaRPr lang="en-US" sz="1400" dirty="0">
              <a:solidFill>
                <a:schemeClr val="tx1"/>
              </a:solidFill>
              <a:latin typeface="Sylfaen" panose="010A0502050306030303" pitchFamily="18" charset="0"/>
            </a:endParaRPr>
          </a:p>
          <a:p>
            <a:r>
              <a:rPr lang="ru-RU" sz="2600" dirty="0">
                <a:latin typeface="Sylfaen" panose="010A0502050306030303" pitchFamily="18" charset="0"/>
              </a:rPr>
              <a:t>Покажите прогнозируемые бюджетные требования в течение следующих нескольких лет</a:t>
            </a:r>
            <a:endParaRPr lang="en-US" sz="2600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35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E0BCB324-0494-41FA-938E-A18FE3DC62CB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23329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11466" cy="1143000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едставление инвестиционных требований для холодовой цепи лицам, принимающим решения</a:t>
            </a:r>
            <a:endParaRPr lang="en-US" dirty="0">
              <a:solidFill>
                <a:schemeClr val="accent5"/>
              </a:solidFill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42918"/>
            <a:ext cx="8229600" cy="4917630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ru-RU" sz="2200" dirty="0">
                <a:latin typeface="Sylfaen" panose="010A0502050306030303" pitchFamily="18" charset="0"/>
              </a:rPr>
              <a:t>Мы запросили $$ в 2018 году и $$ в 2019 году за инвестиции в холодовую цепь. Модернизация нашей холодовой цепи с помощью высокопроизводительного оборудования позволит:</a:t>
            </a:r>
            <a:endParaRPr lang="en-US" sz="2200" dirty="0">
              <a:latin typeface="Sylfaen" panose="010A0502050306030303" pitchFamily="18" charset="0"/>
            </a:endParaRPr>
          </a:p>
          <a:p>
            <a:r>
              <a:rPr lang="ru-RU" sz="2200" dirty="0">
                <a:latin typeface="Sylfaen" panose="010A0502050306030303" pitchFamily="18" charset="0"/>
              </a:rPr>
              <a:t>Сократите эксплуатационные расходы, уменьшив зависимость от керосина, сменных солнечных батарей и пакетов льда</a:t>
            </a:r>
          </a:p>
          <a:p>
            <a:endParaRPr lang="en-US" sz="1500" dirty="0">
              <a:latin typeface="Sylfaen" panose="010A0502050306030303" pitchFamily="18" charset="0"/>
            </a:endParaRPr>
          </a:p>
          <a:p>
            <a:r>
              <a:rPr lang="ru-RU" sz="2200" dirty="0">
                <a:solidFill>
                  <a:schemeClr val="tx1"/>
                </a:solidFill>
                <a:latin typeface="Sylfaen" panose="010A0502050306030303" pitchFamily="18" charset="0"/>
              </a:rPr>
              <a:t>Защитить наши инвестиции в иммунизацию путем сокращения потерь вакцины (ненадежное оборудование для холодовой цепи подвергает вакцины чрезмерному нагреву/замораживанию, что приводит к дорогостоящим потерям) </a:t>
            </a:r>
            <a:r>
              <a:rPr lang="en-US" sz="2200" dirty="0">
                <a:latin typeface="Sylfaen" panose="010A0502050306030303" pitchFamily="18" charset="0"/>
              </a:rPr>
              <a:t> </a:t>
            </a:r>
          </a:p>
          <a:p>
            <a:endParaRPr lang="en-US" sz="1300" dirty="0">
              <a:latin typeface="Sylfaen" panose="010A0502050306030303" pitchFamily="18" charset="0"/>
            </a:endParaRPr>
          </a:p>
          <a:p>
            <a:r>
              <a:rPr lang="ru-RU" sz="2200" dirty="0">
                <a:latin typeface="Sylfaen" panose="010A0502050306030303" pitchFamily="18" charset="0"/>
              </a:rPr>
              <a:t>Помогут улучшить охват и справедливость распределения. Новые технологии пассивного охлаждения расширят географический охват нашей холодовой цепи, позволяя удаленным объектам безопасно хранить вакцины.</a:t>
            </a:r>
          </a:p>
          <a:p>
            <a:endParaRPr lang="en-US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en-US" dirty="0">
              <a:latin typeface="Sylfaen" panose="010A0502050306030303" pitchFamily="18" charset="0"/>
            </a:endParaRPr>
          </a:p>
          <a:p>
            <a:pPr lvl="1"/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36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F251D92-CA97-4346-B798-91EEA01FEC26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3768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384694" cy="1143000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едставление доказательств в пользу введения новой вакцины лицам, принимающим решения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29408"/>
            <a:ext cx="8229600" cy="4498394"/>
          </a:xfrm>
        </p:spPr>
        <p:txBody>
          <a:bodyPr>
            <a:no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XX вакцина сократит заболеваемость и смертность до YY и ZZ</a:t>
            </a:r>
          </a:p>
          <a:p>
            <a:endParaRPr lang="ru-RU" sz="14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XX вакцина сэкономит $$$ ежегодно благодаря сокращению числа амбулаторных посещений и госпитализаций</a:t>
            </a:r>
          </a:p>
          <a:p>
            <a:endParaRPr lang="ru-RU" sz="11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Наш анализ показывает, что вакцина очень экономична</a:t>
            </a:r>
          </a:p>
          <a:p>
            <a:endParaRPr lang="ru-RU" sz="12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XX вакцина будет стимулировать экономический рост за счет повышения производительности</a:t>
            </a:r>
          </a:p>
          <a:p>
            <a:endParaRPr lang="ru-RU" sz="12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XX вакцина рекомендуется нашей Национальной консультативной группой по иммунизации и ВОЗ</a:t>
            </a:r>
          </a:p>
          <a:p>
            <a:endParaRPr lang="ru-RU" sz="14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Наши соседние страны ____ и ____ уже ввели у себя эту вакцину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37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6A22F2EE-F0F4-488E-8F29-966F00476F76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7588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72477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едставление доказательств в пользу своевременного выделения бюджета на закупку вакцин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7"/>
            <a:ext cx="8229600" cy="4844173"/>
          </a:xfrm>
        </p:spPr>
        <p:txBody>
          <a:bodyPr>
            <a:no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Закупка вакцин должна быть запланирована заблаговременно.</a:t>
            </a:r>
          </a:p>
          <a:p>
            <a:endParaRPr lang="ru-RU" sz="14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Служба закупок ЮНИСЕФ требуют предварительной оплаты до размещения заказа.</a:t>
            </a:r>
          </a:p>
          <a:p>
            <a:pPr marL="0" indent="0">
              <a:buNone/>
            </a:pPr>
            <a:endParaRPr lang="ru-RU" sz="14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Задержки с выдаче средств могут привести к перебоям в поставках, что поставит детей под угрозу заболеваний, предотвращаемых вакцинацией.</a:t>
            </a:r>
            <a:r>
              <a:rPr lang="en-US" dirty="0">
                <a:latin typeface="Sylfaen" panose="010A0502050306030303" pitchFamily="18" charset="0"/>
              </a:rPr>
              <a:t> </a:t>
            </a:r>
            <a:endParaRPr lang="ru-RU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ru-RU" sz="16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Выдача большей части средств на закупку вакцин к концу первого квартала финансового года – лучший подход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38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772AE40C-C0AB-4C47-9782-D705A3CABBC6}"/>
              </a:ext>
            </a:extLst>
          </p:cNvPr>
          <p:cNvSpPr/>
          <p:nvPr/>
        </p:nvSpPr>
        <p:spPr>
          <a:xfrm>
            <a:off x="7929677" y="117579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929676" y="123986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7388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72477" cy="1143000"/>
          </a:xfrm>
        </p:spPr>
        <p:txBody>
          <a:bodyPr>
            <a:normAutofit/>
          </a:bodyPr>
          <a:lstStyle/>
          <a:p>
            <a:r>
              <a:rPr lang="ru-RU" sz="2200" dirty="0">
                <a:latin typeface="Sylfaen" panose="010A0502050306030303" pitchFamily="18" charset="0"/>
              </a:rPr>
              <a:t>Представление лицам, принимающим решения, доказательств увеличения финансирования для улучшения охвата/справедливости распределения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7"/>
            <a:ext cx="8229600" cy="4405261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У нас есть зоны с группами с низкой иммунизацией в городских местностях, среди кочевых групп </a:t>
            </a:r>
            <a:r>
              <a:rPr lang="ru-RU" i="1" dirty="0">
                <a:latin typeface="Sylfaen" panose="010A0502050306030303" pitchFamily="18" charset="0"/>
              </a:rPr>
              <a:t>{вставьте характерные для страны детали...} </a:t>
            </a:r>
            <a:endParaRPr lang="en-US" i="1" dirty="0">
              <a:latin typeface="Sylfaen" panose="010A0502050306030303" pitchFamily="18" charset="0"/>
            </a:endParaRPr>
          </a:p>
          <a:p>
            <a:pPr algn="just"/>
            <a:r>
              <a:rPr lang="ru-RU" dirty="0">
                <a:latin typeface="Sylfaen" panose="010A0502050306030303" pitchFamily="18" charset="0"/>
              </a:rPr>
              <a:t>Чтобы охватить эти группы населения, нам необходимо: (подход будет отличаться от страны к стране...)</a:t>
            </a:r>
          </a:p>
          <a:p>
            <a:pPr lvl="1"/>
            <a:r>
              <a:rPr lang="ru-RU" dirty="0">
                <a:latin typeface="Sylfaen" panose="010A0502050306030303" pitchFamily="18" charset="0"/>
              </a:rPr>
              <a:t>Более общего финансирования для первичной медико-санитарной помощи?</a:t>
            </a:r>
          </a:p>
          <a:p>
            <a:pPr lvl="1"/>
            <a:r>
              <a:rPr lang="ru-RU" dirty="0">
                <a:latin typeface="Sylfaen" panose="010A0502050306030303" pitchFamily="18" charset="0"/>
              </a:rPr>
              <a:t>Больше финансирования для новых вмешательств на уровне общин в определенных местах? </a:t>
            </a:r>
          </a:p>
          <a:p>
            <a:pPr lvl="1"/>
            <a:r>
              <a:rPr lang="ru-RU" dirty="0">
                <a:latin typeface="Sylfaen" panose="010A0502050306030303" pitchFamily="18" charset="0"/>
              </a:rPr>
              <a:t>Обновление холодовой цепи...?</a:t>
            </a:r>
          </a:p>
          <a:p>
            <a:pPr lvl="1"/>
            <a:r>
              <a:rPr lang="ru-RU" dirty="0">
                <a:latin typeface="Sylfaen" panose="010A0502050306030303" pitchFamily="18" charset="0"/>
              </a:rPr>
              <a:t>Меры социальной мобилизации для увеличения спроса?</a:t>
            </a:r>
          </a:p>
          <a:p>
            <a:pPr lvl="1"/>
            <a:r>
              <a:rPr lang="ru-RU" dirty="0">
                <a:latin typeface="Sylfaen" panose="010A0502050306030303" pitchFamily="18" charset="0"/>
              </a:rPr>
              <a:t>И т.п.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39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64A7E6FE-274D-44EE-99F4-51E6B223AE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8290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8708BD7-7DBD-4CEC-8749-E384D2043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очему потребность в иммунизации может увеличиться со временем?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129E943-26B6-40E4-8344-5C70071E17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687" y="1081334"/>
            <a:ext cx="8379411" cy="4795503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Sylfaen" panose="010A0502050306030303" pitchFamily="18" charset="0"/>
              </a:rPr>
              <a:t>Быстрое увеличение со</a:t>
            </a:r>
            <a:r>
              <a:rPr lang="en-US" dirty="0">
                <a:solidFill>
                  <a:schemeClr val="tx1"/>
                </a:solidFill>
                <a:latin typeface="Sylfaen" panose="010A0502050306030303" pitchFamily="18" charset="0"/>
              </a:rPr>
              <a:t>-</a:t>
            </a:r>
            <a:r>
              <a:rPr lang="ru-RU" dirty="0">
                <a:solidFill>
                  <a:schemeClr val="tx1"/>
                </a:solidFill>
                <a:latin typeface="Sylfaen" panose="010A0502050306030303" pitchFamily="18" charset="0"/>
              </a:rPr>
              <a:t>финансирования вакцин во время перехода от поддержки </a:t>
            </a:r>
            <a:r>
              <a:rPr lang="ru-RU" dirty="0" err="1">
                <a:solidFill>
                  <a:schemeClr val="tx1"/>
                </a:solidFill>
                <a:latin typeface="Sylfaen" panose="010A0502050306030303" pitchFamily="18" charset="0"/>
              </a:rPr>
              <a:t>Гави</a:t>
            </a:r>
            <a:endParaRPr lang="en-US" dirty="0">
              <a:solidFill>
                <a:schemeClr val="tx1"/>
              </a:solidFill>
              <a:latin typeface="Sylfaen" panose="010A0502050306030303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Sylfaen" panose="010A0502050306030303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Sylfaen" panose="010A0502050306030303" pitchFamily="18" charset="0"/>
              </a:rPr>
              <a:t>Модернизация цепи поставок</a:t>
            </a:r>
          </a:p>
          <a:p>
            <a:pPr marL="0" indent="0">
              <a:buNone/>
            </a:pPr>
            <a:endParaRPr lang="en-US" sz="1400" dirty="0">
              <a:solidFill>
                <a:schemeClr val="tx1"/>
              </a:solidFill>
              <a:latin typeface="Sylfaen" panose="010A0502050306030303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Sylfaen" panose="010A0502050306030303" pitchFamily="18" charset="0"/>
              </a:rPr>
              <a:t>Введение новых вакцин</a:t>
            </a:r>
            <a:endParaRPr lang="en-US" dirty="0">
              <a:solidFill>
                <a:schemeClr val="tx1"/>
              </a:solidFill>
              <a:latin typeface="Sylfaen" panose="010A0502050306030303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Sylfaen" panose="010A0502050306030303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Sylfaen" panose="010A0502050306030303" pitchFamily="18" charset="0"/>
              </a:rPr>
              <a:t>Другие меры по улучшению охвата, досягаемости определенных групп населения</a:t>
            </a:r>
            <a:endParaRPr lang="en-US" dirty="0">
              <a:solidFill>
                <a:schemeClr val="tx1"/>
              </a:solidFill>
              <a:latin typeface="Sylfaen" panose="010A0502050306030303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Sylfaen" panose="010A0502050306030303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Sylfaen" panose="010A0502050306030303" pitchFamily="18" charset="0"/>
              </a:rPr>
              <a:t>Растущая возрастная когорта</a:t>
            </a:r>
            <a:endParaRPr lang="en-US" dirty="0">
              <a:solidFill>
                <a:schemeClr val="tx1"/>
              </a:solidFill>
              <a:latin typeface="Sylfaen" panose="010A0502050306030303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  <a:latin typeface="Sylfaen" panose="010A0502050306030303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Sylfaen" panose="010A0502050306030303" pitchFamily="18" charset="0"/>
              </a:rPr>
              <a:t>Больше внимания к адекватному финансированию операционных расходов</a:t>
            </a:r>
            <a:endParaRPr lang="en-US" dirty="0">
              <a:solidFill>
                <a:schemeClr val="tx1"/>
              </a:solidFill>
              <a:latin typeface="Sylfaen" panose="010A0502050306030303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F8F8E3-B8A3-4D16-9A4A-9F2F1DA32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 algn="l"/>
              <a:t>4</a:t>
            </a:fld>
            <a:r>
              <a:rPr lang="en-US">
                <a:latin typeface="Sylfaen" panose="010A0502050306030303" pitchFamily="18" charset="0"/>
                <a:cs typeface="Arial"/>
              </a:rPr>
              <a:t> | www.lnct.global</a:t>
            </a:r>
            <a:endParaRPr lang="en-US" dirty="0"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226957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D3094-961B-4E8D-9BD6-9CBC2155E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392010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Нам необходимо достичь высокого охвата, чтобы остановить распространение инфекционных заболеваний: как вакцины защищают наше население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C032CE-6F77-4C63-BAFA-E59DDAF3BE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40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983EEB-C50D-47E0-8327-994A54FEA5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7187" b="1179"/>
          <a:stretch/>
        </p:blipFill>
        <p:spPr>
          <a:xfrm>
            <a:off x="657716" y="2418962"/>
            <a:ext cx="8139276" cy="31759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C8710E-E627-4ADB-9A51-C33C4C51FE02}"/>
              </a:ext>
            </a:extLst>
          </p:cNvPr>
          <p:cNvSpPr txBox="1"/>
          <p:nvPr/>
        </p:nvSpPr>
        <p:spPr>
          <a:xfrm>
            <a:off x="4180258" y="5464077"/>
            <a:ext cx="4963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Sylfaen" panose="010A0502050306030303" pitchFamily="18" charset="0"/>
              </a:rPr>
              <a:t>Источник: Национальный институт аллергии и инфекционных заболеваний</a:t>
            </a:r>
            <a:endParaRPr lang="en-US" sz="1100" dirty="0">
              <a:latin typeface="Sylfaen" panose="010A050205030603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A36DFC4-2956-401E-8462-17947F018B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3286"/>
          <a:stretch/>
        </p:blipFill>
        <p:spPr>
          <a:xfrm>
            <a:off x="388766" y="1527363"/>
            <a:ext cx="8693839" cy="719960"/>
          </a:xfrm>
          <a:prstGeom prst="rect">
            <a:avLst/>
          </a:prstGeom>
        </p:spPr>
      </p:pic>
      <p:sp>
        <p:nvSpPr>
          <p:cNvPr id="10" name="Star: 6 Points 9">
            <a:extLst>
              <a:ext uri="{FF2B5EF4-FFF2-40B4-BE49-F238E27FC236}">
                <a16:creationId xmlns:a16="http://schemas.microsoft.com/office/drawing/2014/main" id="{C10FA85C-7476-45D7-B09C-A2503840EA6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12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70775" y="1735644"/>
            <a:ext cx="1691640" cy="57708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050" b="1" dirty="0">
                <a:latin typeface="Sylfaen" panose="010A0502050306030303" pitchFamily="18" charset="0"/>
              </a:rPr>
              <a:t>не иммунизированный, но все же здоровый</a:t>
            </a:r>
          </a:p>
          <a:p>
            <a:endParaRPr lang="en-US" sz="1050" b="1" dirty="0">
              <a:latin typeface="Sylfaen" panose="010A0502050306030303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027056" y="1663091"/>
            <a:ext cx="1691640" cy="60016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100" b="1" dirty="0">
                <a:latin typeface="Sylfaen" panose="010A0502050306030303" pitchFamily="18" charset="0"/>
              </a:rPr>
              <a:t>иммунизированный и здоровый</a:t>
            </a:r>
          </a:p>
          <a:p>
            <a:endParaRPr lang="en-US" sz="1100" b="1" dirty="0">
              <a:latin typeface="Sylfaen" panose="010A0502050306030303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383337" y="1683236"/>
            <a:ext cx="1658303" cy="60016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100" b="1" dirty="0">
                <a:latin typeface="Sylfaen" panose="010A0502050306030303" pitchFamily="18" charset="0"/>
              </a:rPr>
              <a:t>не иммунизированный, больной и заразный</a:t>
            </a:r>
          </a:p>
          <a:p>
            <a:endParaRPr lang="en-US" sz="1100" b="1" dirty="0">
              <a:latin typeface="Sylfaen" panose="010A0502050306030303" pitchFamily="18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982625" y="3274877"/>
            <a:ext cx="1127856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latin typeface="Sylfaen" panose="010A0502050306030303" pitchFamily="18" charset="0"/>
              </a:rPr>
              <a:t>Идёт иммунизация большинства населения</a:t>
            </a:r>
            <a:endParaRPr lang="en-US" sz="1200" b="1" dirty="0">
              <a:latin typeface="Sylfaen" panose="010A0502050306030303" pitchFamily="18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881407" y="4506123"/>
            <a:ext cx="1229074" cy="76944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100" b="1" dirty="0">
                <a:latin typeface="Sylfaen" panose="010A0502050306030303" pitchFamily="18" charset="0"/>
              </a:rPr>
              <a:t>Распространение инфекционных заболеваний остановлено</a:t>
            </a:r>
            <a:endParaRPr lang="en-US" sz="11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948258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D3094-961B-4E8D-9BD6-9CBC2155E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67574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Низкий охват означает, что инфекционная болезнь может быстро распространяться среди населения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C032CE-6F77-4C63-BAFA-E59DDAF3BE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41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983EEB-C50D-47E0-8327-994A54FEA5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" t="37023" r="-43" b="32645"/>
          <a:stretch/>
        </p:blipFill>
        <p:spPr>
          <a:xfrm>
            <a:off x="854038" y="2256145"/>
            <a:ext cx="8139276" cy="304511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C8710E-E627-4ADB-9A51-C33C4C51FE02}"/>
              </a:ext>
            </a:extLst>
          </p:cNvPr>
          <p:cNvSpPr txBox="1"/>
          <p:nvPr/>
        </p:nvSpPr>
        <p:spPr>
          <a:xfrm>
            <a:off x="4376580" y="5301260"/>
            <a:ext cx="43290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Sylfaen" panose="010A0502050306030303" pitchFamily="18" charset="0"/>
              </a:rPr>
              <a:t>Источник: Национальный институт аллергии и инфекционных заболеваний</a:t>
            </a:r>
            <a:endParaRPr lang="en-US" sz="1100" dirty="0">
              <a:latin typeface="Sylfaen" panose="010A050205030603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272662F-7CD8-4BD9-9638-E79A1B27CA6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3286"/>
          <a:stretch/>
        </p:blipFill>
        <p:spPr>
          <a:xfrm>
            <a:off x="457200" y="1417638"/>
            <a:ext cx="8693839" cy="719960"/>
          </a:xfrm>
          <a:prstGeom prst="rect">
            <a:avLst/>
          </a:prstGeom>
        </p:spPr>
      </p:pic>
      <p:sp>
        <p:nvSpPr>
          <p:cNvPr id="10" name="Star: 6 Points 9">
            <a:extLst>
              <a:ext uri="{FF2B5EF4-FFF2-40B4-BE49-F238E27FC236}">
                <a16:creationId xmlns:a16="http://schemas.microsoft.com/office/drawing/2014/main" id="{63C9679D-A5FB-4E43-8718-BA04A34981A5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12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454457" y="1562928"/>
            <a:ext cx="1658303" cy="60016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100" b="1" dirty="0">
                <a:latin typeface="Sylfaen" panose="010A0502050306030303" pitchFamily="18" charset="0"/>
              </a:rPr>
              <a:t>не иммунизированный, больной и заразный</a:t>
            </a:r>
          </a:p>
          <a:p>
            <a:endParaRPr lang="en-US" sz="1100" b="1" dirty="0">
              <a:latin typeface="Sylfaen" panose="010A0502050306030303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077856" y="1510691"/>
            <a:ext cx="1691640" cy="76944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100" b="1" dirty="0">
                <a:latin typeface="Sylfaen" panose="010A0502050306030303" pitchFamily="18" charset="0"/>
              </a:rPr>
              <a:t>иммунизированный и здоровый</a:t>
            </a:r>
          </a:p>
          <a:p>
            <a:endParaRPr lang="ru-RU" sz="1100" b="1" dirty="0">
              <a:latin typeface="Sylfaen" panose="010A0502050306030303" pitchFamily="18" charset="0"/>
            </a:endParaRPr>
          </a:p>
          <a:p>
            <a:endParaRPr lang="en-US" sz="1100" b="1" dirty="0">
              <a:latin typeface="Sylfaen" panose="010A0502050306030303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01255" y="1625467"/>
            <a:ext cx="1691640" cy="57708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050" b="1" dirty="0">
                <a:latin typeface="Sylfaen" panose="010A0502050306030303" pitchFamily="18" charset="0"/>
              </a:rPr>
              <a:t>не иммунизированный, но все же здоровый</a:t>
            </a:r>
          </a:p>
          <a:p>
            <a:endParaRPr lang="en-US" sz="1050" b="1" dirty="0">
              <a:latin typeface="Sylfaen" panose="010A0502050306030303" pitchFamily="18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13004" y="4285598"/>
            <a:ext cx="1502276" cy="93871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100" b="1" dirty="0">
                <a:latin typeface="Sylfaen" panose="010A0502050306030303" pitchFamily="18" charset="0"/>
              </a:rPr>
              <a:t>Инфекционная болезнь распространяется среди части населения.</a:t>
            </a:r>
            <a:endParaRPr lang="en-US" sz="1100" b="1" dirty="0">
              <a:latin typeface="Sylfaen" panose="010A0502050306030303" pitchFamily="18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982624" y="3091997"/>
            <a:ext cx="13630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latin typeface="Sylfaen" panose="010A0502050306030303" pitchFamily="18" charset="0"/>
              </a:rPr>
              <a:t>Ведется  иммунизации определенной части населения</a:t>
            </a:r>
            <a:endParaRPr lang="en-US" sz="12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89289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523B23-0D56-4FA2-A923-0ADEF571C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311" y="216160"/>
            <a:ext cx="7619789" cy="997729"/>
          </a:xfrm>
        </p:spPr>
        <p:txBody>
          <a:bodyPr>
            <a:no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едоставление доказательств в пользу поддержания приверженности и финансирования в долгосрочной перспективе...</a:t>
            </a:r>
            <a:br>
              <a:rPr lang="en-US" dirty="0">
                <a:latin typeface="Sylfaen" panose="010A0502050306030303" pitchFamily="18" charset="0"/>
              </a:rPr>
            </a:b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BEAEFE-D95C-42B8-AA3B-D6B12773B7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612" y="1853217"/>
            <a:ext cx="3842426" cy="384520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ru-RU" sz="1600" b="1" dirty="0">
                <a:latin typeface="Sylfaen" panose="010A0502050306030303" pitchFamily="18" charset="0"/>
              </a:rPr>
              <a:t>Япония, 1979, коклюш*</a:t>
            </a:r>
          </a:p>
          <a:p>
            <a:pPr marL="0" indent="0">
              <a:buNone/>
            </a:pPr>
            <a:r>
              <a:rPr lang="ru-RU" sz="1600" dirty="0">
                <a:latin typeface="Sylfaen" panose="010A0502050306030303" pitchFamily="18" charset="0"/>
              </a:rPr>
              <a:t>Показатели иммунизации снизились с 80% в 1974 году до 10% в 1976 году</a:t>
            </a:r>
          </a:p>
          <a:p>
            <a:pPr marL="0" indent="0">
              <a:buNone/>
            </a:pPr>
            <a:r>
              <a:rPr lang="ru-RU" sz="1600" dirty="0">
                <a:latin typeface="Sylfaen" panose="010A0502050306030303" pitchFamily="18" charset="0"/>
              </a:rPr>
              <a:t>Результат: 13,000 случаев/41 случай смертельного исхода</a:t>
            </a:r>
            <a:endParaRPr lang="en-US" sz="1600" dirty="0">
              <a:latin typeface="Sylfaen" panose="010A0502050306030303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600" dirty="0">
              <a:latin typeface="Sylfaen" panose="010A0502050306030303" pitchFamily="18" charset="0"/>
            </a:endParaRPr>
          </a:p>
          <a:p>
            <a:pPr marL="0" indent="0">
              <a:buNone/>
            </a:pPr>
            <a:r>
              <a:rPr lang="ru-RU" sz="1600" b="1" dirty="0">
                <a:latin typeface="Sylfaen" panose="010A0502050306030303" pitchFamily="18" charset="0"/>
              </a:rPr>
              <a:t>Бывший СССР, 1990-1999, дифтерия**</a:t>
            </a:r>
          </a:p>
          <a:p>
            <a:pPr marL="0" indent="0">
              <a:buNone/>
            </a:pPr>
            <a:r>
              <a:rPr lang="ru-RU" sz="1600" dirty="0">
                <a:latin typeface="Sylfaen" panose="010A0502050306030303" pitchFamily="18" charset="0"/>
              </a:rPr>
              <a:t>Распад служб общественного здравоохранения</a:t>
            </a:r>
          </a:p>
          <a:p>
            <a:pPr marL="0" indent="0">
              <a:buNone/>
            </a:pPr>
            <a:r>
              <a:rPr lang="ru-RU" sz="1600" dirty="0">
                <a:latin typeface="Sylfaen" panose="010A0502050306030303" pitchFamily="18" charset="0"/>
              </a:rPr>
              <a:t>Результат: 150,000 случаев/5,000 случаев смертельного исхода</a:t>
            </a:r>
            <a:endParaRPr lang="en-US" sz="1600" dirty="0">
              <a:latin typeface="Sylfaen" panose="010A0502050306030303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600" b="1" dirty="0">
              <a:latin typeface="Sylfaen" panose="010A0502050306030303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600" b="1" dirty="0">
                <a:latin typeface="Sylfaen" panose="010A0502050306030303" pitchFamily="18" charset="0"/>
              </a:rPr>
              <a:t>Швеция, 1979-1996 годы, коклюш***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>
                <a:latin typeface="Sylfaen" panose="010A0502050306030303" pitchFamily="18" charset="0"/>
              </a:rPr>
              <a:t>Упущение правительства в области вакцинации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>
                <a:latin typeface="Sylfaen" panose="010A0502050306030303" pitchFamily="18" charset="0"/>
              </a:rPr>
              <a:t>Результат: 60% инфицированных в возрасте до 10 лет</a:t>
            </a:r>
          </a:p>
          <a:p>
            <a:pPr marL="0" indent="0">
              <a:buNone/>
            </a:pPr>
            <a:endParaRPr lang="en-US" sz="1600" dirty="0">
              <a:latin typeface="Sylfaen" panose="010A0502050306030303" pitchFamily="18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E6CBEAF-B91C-40B3-99DD-D548C1EFCE86}"/>
              </a:ext>
            </a:extLst>
          </p:cNvPr>
          <p:cNvSpPr txBox="1">
            <a:spLocks/>
          </p:cNvSpPr>
          <p:nvPr/>
        </p:nvSpPr>
        <p:spPr>
          <a:xfrm>
            <a:off x="4535424" y="1853217"/>
            <a:ext cx="4007796" cy="384520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lang="en-US" sz="1600" b="0" i="0" kern="1200">
                <a:solidFill>
                  <a:srgbClr val="313231"/>
                </a:solidFill>
                <a:latin typeface="Arial"/>
                <a:ea typeface="+mj-ea"/>
                <a:cs typeface="Arial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b="1" dirty="0">
                <a:latin typeface="Sylfaen" panose="010A0502050306030303" pitchFamily="18" charset="0"/>
              </a:rPr>
              <a:t>Ирландия, 2000, Корь †</a:t>
            </a:r>
          </a:p>
          <a:p>
            <a:pPr marL="0" indent="0">
              <a:buNone/>
            </a:pPr>
            <a:r>
              <a:rPr lang="ru-RU" sz="1600" dirty="0">
                <a:latin typeface="Sylfaen" panose="010A0502050306030303" pitchFamily="18" charset="0"/>
              </a:rPr>
              <a:t>Отказ от вакцины</a:t>
            </a:r>
          </a:p>
          <a:p>
            <a:pPr marL="0" indent="0">
              <a:buNone/>
            </a:pPr>
            <a:r>
              <a:rPr lang="ru-RU" sz="1600" dirty="0">
                <a:latin typeface="Sylfaen" panose="010A0502050306030303" pitchFamily="18" charset="0"/>
              </a:rPr>
              <a:t>Результат: 300 случаев / 3 случая детской смертности</a:t>
            </a:r>
          </a:p>
          <a:p>
            <a:pPr marL="0" indent="0">
              <a:buNone/>
            </a:pPr>
            <a:endParaRPr lang="en-US" sz="1600" dirty="0">
              <a:latin typeface="Sylfaen" panose="010A0502050306030303" pitchFamily="18" charset="0"/>
            </a:endParaRPr>
          </a:p>
          <a:p>
            <a:pPr marL="0" indent="0">
              <a:buNone/>
            </a:pPr>
            <a:r>
              <a:rPr lang="ru-RU" sz="1600" b="1" dirty="0">
                <a:latin typeface="Sylfaen" panose="010A0502050306030303" pitchFamily="18" charset="0"/>
              </a:rPr>
              <a:t>Вьетнам, 2013, </a:t>
            </a:r>
            <a:r>
              <a:rPr lang="ru-RU" sz="1600" b="1" dirty="0" err="1">
                <a:latin typeface="Sylfaen" panose="010A0502050306030303" pitchFamily="18" charset="0"/>
              </a:rPr>
              <a:t>HepB</a:t>
            </a:r>
            <a:r>
              <a:rPr lang="ru-RU" sz="1600" b="1" dirty="0">
                <a:latin typeface="Sylfaen" panose="010A0502050306030303" pitchFamily="18" charset="0"/>
              </a:rPr>
              <a:t> ‡</a:t>
            </a:r>
          </a:p>
          <a:p>
            <a:pPr marL="0" indent="0">
              <a:buNone/>
            </a:pPr>
            <a:r>
              <a:rPr lang="ru-RU" sz="1600" dirty="0">
                <a:latin typeface="Sylfaen" panose="010A0502050306030303" pitchFamily="18" charset="0"/>
              </a:rPr>
              <a:t>Снижение охвата после шумихи в  средствах массовой информации вокруг неблагоприятных событий, последовавших за иммунизацией пятивалентной вакциной</a:t>
            </a:r>
            <a:r>
              <a:rPr lang="en-US" sz="1600" dirty="0">
                <a:latin typeface="Sylfaen" panose="010A0502050306030303" pitchFamily="18" charset="0"/>
              </a:rPr>
              <a:t> </a:t>
            </a:r>
          </a:p>
          <a:p>
            <a:pPr marL="0" indent="0">
              <a:buNone/>
            </a:pPr>
            <a:endParaRPr lang="en-US" sz="1600" dirty="0">
              <a:latin typeface="Sylfaen" panose="010A0502050306030303" pitchFamily="18" charset="0"/>
            </a:endParaRPr>
          </a:p>
          <a:p>
            <a:pPr marL="0" indent="0">
              <a:buNone/>
            </a:pPr>
            <a:r>
              <a:rPr lang="ru-RU" sz="1600" dirty="0">
                <a:latin typeface="Sylfaen" panose="010A0502050306030303" pitchFamily="18" charset="0"/>
              </a:rPr>
              <a:t>Ожидаемый результат годового снижения охвата: в когорте рождения 2013 года более 17 000 будущих смертей от хронической инфекции гепатита B (рак печени, цирроз печени) и более 90,000 случаев хронических инфекций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E59C8E-43AB-404F-905A-A41257095F8A}"/>
              </a:ext>
            </a:extLst>
          </p:cNvPr>
          <p:cNvSpPr txBox="1"/>
          <p:nvPr/>
        </p:nvSpPr>
        <p:spPr>
          <a:xfrm>
            <a:off x="2082906" y="6173312"/>
            <a:ext cx="329609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Sylfaen" panose="010A0502050306030303" pitchFamily="18" charset="0"/>
              </a:rPr>
              <a:t>*  </a:t>
            </a:r>
            <a:r>
              <a:rPr lang="en-US" sz="1000" dirty="0">
                <a:latin typeface="Sylfaen" panose="010A0502050306030303" pitchFamily="18" charset="0"/>
                <a:hlinkClick r:id="rId2"/>
              </a:rPr>
              <a:t>https://www.cdc.gov/vaccines/vac-gen/why.htm</a:t>
            </a:r>
            <a:endParaRPr lang="en-US" sz="1000" dirty="0">
              <a:latin typeface="Sylfaen" panose="010A0502050306030303" pitchFamily="18" charset="0"/>
            </a:endParaRPr>
          </a:p>
          <a:p>
            <a:r>
              <a:rPr lang="en-US" sz="1000" dirty="0">
                <a:latin typeface="Sylfaen" panose="010A0502050306030303" pitchFamily="18" charset="0"/>
              </a:rPr>
              <a:t>** </a:t>
            </a:r>
            <a:r>
              <a:rPr lang="en-US" sz="1000" dirty="0">
                <a:latin typeface="Sylfaen" panose="010A0502050306030303" pitchFamily="18" charset="0"/>
                <a:hlinkClick r:id="rId3"/>
              </a:rPr>
              <a:t>https://wwwnc.cdc.gov/eid/article/4/4/98-0404_article</a:t>
            </a:r>
            <a:endParaRPr lang="en-US" sz="1000" dirty="0">
              <a:latin typeface="Sylfaen" panose="010A0502050306030303" pitchFamily="18" charset="0"/>
            </a:endParaRPr>
          </a:p>
          <a:p>
            <a:r>
              <a:rPr lang="en-US" sz="1000" b="1" dirty="0">
                <a:latin typeface="Sylfaen" panose="010A0502050306030303" pitchFamily="18" charset="0"/>
              </a:rPr>
              <a:t>***</a:t>
            </a:r>
            <a:r>
              <a:rPr lang="en-US" sz="1000" dirty="0">
                <a:latin typeface="Sylfaen" panose="010A0502050306030303" pitchFamily="18" charset="0"/>
                <a:hlinkClick r:id="rId4"/>
              </a:rPr>
              <a:t>https://www.ncbi.nlm.nih.gov/pubmed/8483621</a:t>
            </a:r>
            <a:endParaRPr lang="en-US" sz="1000" dirty="0">
              <a:latin typeface="Sylfaen" panose="010A0502050306030303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06B264-0311-40F3-85F6-8BCFB13F08F9}"/>
              </a:ext>
            </a:extLst>
          </p:cNvPr>
          <p:cNvSpPr txBox="1"/>
          <p:nvPr/>
        </p:nvSpPr>
        <p:spPr>
          <a:xfrm>
            <a:off x="5554609" y="6173312"/>
            <a:ext cx="30604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latin typeface="Sylfaen" panose="010A0502050306030303" pitchFamily="18" charset="0"/>
              </a:rPr>
              <a:t>† </a:t>
            </a:r>
            <a:r>
              <a:rPr lang="en-US" sz="1000" dirty="0">
                <a:latin typeface="Sylfaen" panose="010A0502050306030303" pitchFamily="18" charset="0"/>
                <a:hlinkClick r:id="rId5"/>
              </a:rPr>
              <a:t>https://www.ncbi.nlm.nih.gov/pubmed/12867830</a:t>
            </a:r>
            <a:r>
              <a:rPr lang="en-US" sz="1000" dirty="0">
                <a:latin typeface="Sylfaen" panose="010A0502050306030303" pitchFamily="18" charset="0"/>
              </a:rPr>
              <a:t> </a:t>
            </a:r>
          </a:p>
          <a:p>
            <a:r>
              <a:rPr lang="en-US" sz="1000" b="1" dirty="0">
                <a:latin typeface="Sylfaen" panose="010A0502050306030303" pitchFamily="18" charset="0"/>
              </a:rPr>
              <a:t>‡ </a:t>
            </a:r>
            <a:r>
              <a:rPr lang="en-US" sz="1000" dirty="0">
                <a:latin typeface="Sylfaen" panose="010A0502050306030303" pitchFamily="18" charset="0"/>
                <a:hlinkClick r:id="rId6"/>
              </a:rPr>
              <a:t>https://www.ncbi.nlm.nih.gov/pubmed/26055296</a:t>
            </a:r>
            <a:r>
              <a:rPr lang="en-US" sz="1000" dirty="0">
                <a:latin typeface="Sylfaen" panose="010A0502050306030303" pitchFamily="18" charset="0"/>
              </a:rPr>
              <a:t> 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510FDE-D8D5-41C4-9985-3607DE2F898E}"/>
              </a:ext>
            </a:extLst>
          </p:cNvPr>
          <p:cNvSpPr txBox="1"/>
          <p:nvPr/>
        </p:nvSpPr>
        <p:spPr>
          <a:xfrm>
            <a:off x="491612" y="1215660"/>
            <a:ext cx="83657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Sylfaen" panose="010A0502050306030303" pitchFamily="18" charset="0"/>
              </a:rPr>
              <a:t>Когда программы заходили в тупик, это имело ужасные последствия ...</a:t>
            </a:r>
            <a:endParaRPr lang="en-US" sz="2000" b="1" dirty="0">
              <a:latin typeface="Sylfaen" panose="010A0502050306030303" pitchFamily="18" charset="0"/>
            </a:endParaRPr>
          </a:p>
        </p:txBody>
      </p:sp>
      <p:sp>
        <p:nvSpPr>
          <p:cNvPr id="9" name="Star: 6 Points 8">
            <a:extLst>
              <a:ext uri="{FF2B5EF4-FFF2-40B4-BE49-F238E27FC236}">
                <a16:creationId xmlns:a16="http://schemas.microsoft.com/office/drawing/2014/main" id="{0FF4FFD6-9AB9-49D0-A01B-922E03AA7927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11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8760" y="18164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80311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13955" cy="1143000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едставление доказательств безопасности вакцин лицам, принимающим решения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233" y="1175368"/>
            <a:ext cx="8430079" cy="4502875"/>
          </a:xfrm>
        </p:spPr>
        <p:txBody>
          <a:bodyPr>
            <a:no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Вакцины безопасны</a:t>
            </a:r>
          </a:p>
          <a:p>
            <a:pPr lvl="1"/>
            <a:r>
              <a:rPr lang="ru-RU" dirty="0">
                <a:latin typeface="Sylfaen" panose="010A0502050306030303" pitchFamily="18" charset="0"/>
              </a:rPr>
              <a:t>Лицензирование вакцины требует исчерпывающей оценки и тестирования, чтобы убедиться, что она безопасна и эффективна.</a:t>
            </a:r>
          </a:p>
          <a:p>
            <a:pPr lvl="1"/>
            <a:r>
              <a:rPr lang="ru-RU" dirty="0">
                <a:latin typeface="Sylfaen" panose="010A0502050306030303" pitchFamily="18" charset="0"/>
              </a:rPr>
              <a:t>После предварительной квалификации и лицензирования ВОЗ продолжает следить за вакциной, и любой серьезный побочный эффект тщательно исследуется.</a:t>
            </a:r>
          </a:p>
          <a:p>
            <a:pPr marL="457200" lvl="1" indent="0">
              <a:buNone/>
            </a:pPr>
            <a:endParaRPr lang="en-US" sz="8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Вакцины все еще необходимы, даже если заболевания стали редкими.</a:t>
            </a:r>
          </a:p>
          <a:p>
            <a:endParaRPr lang="en-US" sz="10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Комбинированные вакцины</a:t>
            </a:r>
            <a:r>
              <a:rPr lang="en-US" dirty="0">
                <a:latin typeface="Sylfaen" panose="010A0502050306030303" pitchFamily="18" charset="0"/>
              </a:rPr>
              <a:t>: </a:t>
            </a:r>
          </a:p>
          <a:p>
            <a:pPr lvl="1"/>
            <a:r>
              <a:rPr lang="ru-RU" dirty="0">
                <a:latin typeface="Sylfaen" panose="010A0502050306030303" pitchFamily="18" charset="0"/>
              </a:rPr>
              <a:t>Экономят время и деньги за счет меньшего числа посещений клиник;</a:t>
            </a:r>
          </a:p>
          <a:p>
            <a:pPr lvl="1"/>
            <a:r>
              <a:rPr lang="ru-RU" dirty="0">
                <a:latin typeface="Sylfaen" panose="010A0502050306030303" pitchFamily="18" charset="0"/>
              </a:rPr>
              <a:t>Уменьшают дискомфорт для ребенка за счет меньшего количества инъекций;</a:t>
            </a:r>
          </a:p>
          <a:p>
            <a:pPr lvl="1"/>
            <a:r>
              <a:rPr lang="ru-RU" dirty="0">
                <a:latin typeface="Sylfaen" panose="010A0502050306030303" pitchFamily="18" charset="0"/>
              </a:rPr>
              <a:t>Увеличивают вероятность того, что ребенок получит полный набор прививок в соответствии с национальным графиком.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43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0DDB324-6CA3-4998-A028-30DA07286039}"/>
              </a:ext>
            </a:extLst>
          </p:cNvPr>
          <p:cNvSpPr txBox="1"/>
          <p:nvPr/>
        </p:nvSpPr>
        <p:spPr>
          <a:xfrm>
            <a:off x="1967789" y="6008242"/>
            <a:ext cx="63130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Sylfaen" panose="010A0502050306030303" pitchFamily="18" charset="0"/>
              </a:rPr>
              <a:t>Цитируется из документов, хранящихся в библиотеке ВОЗ ЕВРО по вакцинации и доверию, где имеется еще много полезных материалов. См.: </a:t>
            </a:r>
            <a:r>
              <a:rPr lang="en-US" sz="1200" dirty="0">
                <a:latin typeface="Sylfaen" panose="010A0502050306030303" pitchFamily="18" charset="0"/>
                <a:hlinkClick r:id="rId2"/>
              </a:rPr>
              <a:t>http://www.euro.who.int/en/health-topics/disease-prevention/vaccines-and-immunization/publications/vaccination-and-trust-library-1</a:t>
            </a:r>
            <a:r>
              <a:rPr lang="ru-RU" sz="1200" dirty="0">
                <a:latin typeface="Sylfaen" panose="010A0502050306030303" pitchFamily="18" charset="0"/>
              </a:rPr>
              <a:t> </a:t>
            </a:r>
            <a:r>
              <a:rPr lang="en-US" sz="1200" dirty="0">
                <a:latin typeface="Sylfaen" panose="010A0502050306030303" pitchFamily="18" charset="0"/>
              </a:rPr>
              <a:t>  </a:t>
            </a: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0A461A2A-C6D1-421B-91D4-442C8BD0C11E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52255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45929B6-5602-4794-8526-6C90D72CC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29653"/>
            <a:ext cx="8229600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Групповая работа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FBD330-39C4-424A-91AE-85C8DCF37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44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055185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EDC56-08B2-47F1-84C1-0E55192D3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Команды  стран сотрудничают друг с другом, чтобы разработать презентацию для убедительного обоснования инвестиций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378B06-76F6-48C3-AB18-04D566278D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67288"/>
            <a:ext cx="8229600" cy="4797991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ru-RU" sz="1800" dirty="0">
                <a:latin typeface="Sylfaen" panose="010A0502050306030303" pitchFamily="18" charset="0"/>
              </a:rPr>
              <a:t>Ваша программа нуждается в дополнительном финансировании для конкретной цели (ВЫ РЕШАЕТЕ, КАКИЕ ИМЕННО КОНКРЕТНЫЕ ПОТРЕБНОСТИ)</a:t>
            </a:r>
            <a:r>
              <a:rPr lang="en-US" sz="1800" dirty="0">
                <a:latin typeface="Sylfaen" panose="010A0502050306030303" pitchFamily="18" charset="0"/>
              </a:rPr>
              <a:t> </a:t>
            </a:r>
            <a:r>
              <a:rPr lang="ru-RU" sz="1800" dirty="0">
                <a:latin typeface="Sylfaen" panose="010A0502050306030303" pitchFamily="18" charset="0"/>
              </a:rPr>
              <a:t> </a:t>
            </a:r>
            <a:endParaRPr lang="en-US" sz="1800" dirty="0">
              <a:latin typeface="Sylfaen" panose="010A05020503060303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000" dirty="0">
              <a:latin typeface="Sylfaen" panose="010A05020503060303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1800" dirty="0">
                <a:latin typeface="Sylfaen" panose="010A0502050306030303" pitchFamily="18" charset="0"/>
              </a:rPr>
              <a:t>Министр здравоохранения попросил вас, представить презентацию на межотраслевом совещании под председательством заместителя премьер-министра, на котором будут обсуждаться приоритеты правительства на следующие три года</a:t>
            </a:r>
          </a:p>
          <a:p>
            <a:pPr marL="0" indent="0">
              <a:buNone/>
            </a:pPr>
            <a:endParaRPr lang="en-US" sz="1000" dirty="0">
              <a:latin typeface="Sylfaen" panose="010A05020503060303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1800" dirty="0">
                <a:latin typeface="Sylfaen" panose="010A0502050306030303" pitchFamily="18" charset="0"/>
              </a:rPr>
              <a:t>Отличная возможность представить цели и потребности вашей программы (все </a:t>
            </a:r>
            <a:r>
              <a:rPr lang="ru-RU" sz="1800" b="1" dirty="0">
                <a:latin typeface="Sylfaen" panose="010A0502050306030303" pitchFamily="18" charset="0"/>
              </a:rPr>
              <a:t>ключевые лица, принимающие решения</a:t>
            </a:r>
            <a:r>
              <a:rPr lang="ru-RU" sz="1800" dirty="0">
                <a:latin typeface="Sylfaen" panose="010A0502050306030303" pitchFamily="18" charset="0"/>
              </a:rPr>
              <a:t>, будут там, например, Министерство планирования, Министерство финансов и другие)</a:t>
            </a:r>
            <a:endParaRPr lang="en-US" sz="1800" dirty="0">
              <a:latin typeface="Sylfaen" panose="010A05020503060303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000" dirty="0">
              <a:latin typeface="Sylfaen" panose="010A05020503060303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1800" dirty="0">
                <a:latin typeface="Sylfaen" panose="010A0502050306030303" pitchFamily="18" charset="0"/>
              </a:rPr>
              <a:t>10 минут на презентацию</a:t>
            </a:r>
          </a:p>
          <a:p>
            <a:pPr>
              <a:buFont typeface="Arial" panose="020B0604020202020204" pitchFamily="34" charset="0"/>
              <a:buChar char="•"/>
            </a:pPr>
            <a:endParaRPr lang="ru-RU" sz="900" dirty="0">
              <a:latin typeface="Sylfaen" panose="010A0502050306030303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1800" dirty="0">
                <a:latin typeface="Sylfaen" panose="010A0502050306030303" pitchFamily="18" charset="0"/>
              </a:rPr>
              <a:t>Подготовьте презентацию (или набросок), в которой выделены достижения, проблемы, будущие цели и потребности, учитывая типы ключевых тезисов, которые, вероятно, будут иметь успех у этой аудитории</a:t>
            </a:r>
            <a:endParaRPr lang="en-US" sz="1800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06E20F-3A59-4072-844F-CED5BF9E2D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45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108446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Помните!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Ссылайтесь на программные достижения</a:t>
            </a:r>
          </a:p>
          <a:p>
            <a:r>
              <a:rPr lang="ru-RU" dirty="0">
                <a:latin typeface="Sylfaen" panose="010A0502050306030303" pitchFamily="18" charset="0"/>
              </a:rPr>
              <a:t>Кратко опишите инвестиционные потребности</a:t>
            </a:r>
          </a:p>
          <a:p>
            <a:r>
              <a:rPr lang="ru-RU" dirty="0">
                <a:latin typeface="Sylfaen" panose="010A0502050306030303" pitchFamily="18" charset="0"/>
              </a:rPr>
              <a:t>Используйте доказательства для поддержки инвестиционных потребностей</a:t>
            </a:r>
          </a:p>
          <a:p>
            <a:r>
              <a:rPr lang="ru-RU" dirty="0">
                <a:latin typeface="Sylfaen" panose="010A0502050306030303" pitchFamily="18" charset="0"/>
              </a:rPr>
              <a:t>Выражайтесь ясно, используйте простой язык, вызывайте эмоции, подбирайте тезисы, которые вызовут отзыв у лиц, принимающих решения 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46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64485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45929B6-5602-4794-8526-6C90D72CC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829653"/>
            <a:ext cx="8229600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Дополнительные слайды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FBD330-39C4-424A-91AE-85C8DCF37B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47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822550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D3094-961B-4E8D-9BD6-9CBC2155E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Низкий охват - как вакцины защищают наше население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C032CE-6F77-4C63-BAFA-E59DDAF3BE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48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015DC4-FBEC-4195-95FC-13862257F3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3286"/>
          <a:stretch/>
        </p:blipFill>
        <p:spPr>
          <a:xfrm>
            <a:off x="264408" y="1024503"/>
            <a:ext cx="8693839" cy="7199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5983EEB-C50D-47E0-8327-994A54FEA5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" t="6892" r="-43" b="62777"/>
          <a:stretch/>
        </p:blipFill>
        <p:spPr>
          <a:xfrm>
            <a:off x="661246" y="1863010"/>
            <a:ext cx="8139276" cy="304511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C8710E-E627-4ADB-9A51-C33C4C51FE02}"/>
              </a:ext>
            </a:extLst>
          </p:cNvPr>
          <p:cNvSpPr txBox="1"/>
          <p:nvPr/>
        </p:nvSpPr>
        <p:spPr>
          <a:xfrm>
            <a:off x="4183788" y="4908125"/>
            <a:ext cx="43290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Sylfaen" panose="010A0502050306030303" pitchFamily="18" charset="0"/>
              </a:rPr>
              <a:t>Источник: Национальный институт аллергии и инфекционных заболеваний</a:t>
            </a:r>
            <a:endParaRPr lang="en-US" sz="1100" dirty="0">
              <a:latin typeface="Sylfaen" panose="010A0502050306030303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518871" y="1167382"/>
            <a:ext cx="1691640" cy="57708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050" b="1" dirty="0">
                <a:latin typeface="Sylfaen" panose="010A0502050306030303" pitchFamily="18" charset="0"/>
              </a:rPr>
              <a:t>не иммунизированный, но все же здоровый</a:t>
            </a:r>
          </a:p>
          <a:p>
            <a:endParaRPr lang="en-US" sz="1050" b="1" dirty="0">
              <a:latin typeface="Sylfaen" panose="010A0502050306030303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85064" y="1207204"/>
            <a:ext cx="1691640" cy="76944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100" b="1" dirty="0">
                <a:latin typeface="Sylfaen" panose="010A0502050306030303" pitchFamily="18" charset="0"/>
              </a:rPr>
              <a:t>иммунизированный и здоровый</a:t>
            </a:r>
          </a:p>
          <a:p>
            <a:endParaRPr lang="ru-RU" sz="1100" b="1" dirty="0">
              <a:latin typeface="Sylfaen" panose="010A0502050306030303" pitchFamily="18" charset="0"/>
            </a:endParaRPr>
          </a:p>
          <a:p>
            <a:endParaRPr lang="en-US" sz="1100" b="1" dirty="0">
              <a:latin typeface="Sylfaen" panose="010A0502050306030303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51257" y="1219201"/>
            <a:ext cx="1658303" cy="60016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100" b="1" dirty="0">
                <a:latin typeface="Sylfaen" panose="010A0502050306030303" pitchFamily="18" charset="0"/>
              </a:rPr>
              <a:t>не иммунизированный, больной и заразный</a:t>
            </a:r>
          </a:p>
          <a:p>
            <a:endParaRPr lang="en-US" sz="1100" b="1" dirty="0">
              <a:latin typeface="Sylfaen" panose="010A0502050306030303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885064" y="3019729"/>
            <a:ext cx="1363035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latin typeface="Sylfaen" panose="010A0502050306030303" pitchFamily="18" charset="0"/>
              </a:rPr>
              <a:t>Никто не привит</a:t>
            </a:r>
          </a:p>
          <a:p>
            <a:endParaRPr lang="en-US" sz="1200" b="1" dirty="0">
              <a:latin typeface="Sylfaen" panose="010A0502050306030303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770764" y="3892462"/>
            <a:ext cx="136303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latin typeface="Sylfaen" panose="010A0502050306030303" pitchFamily="18" charset="0"/>
              </a:rPr>
              <a:t>Инфекционная болезнь распространяется среди населения.</a:t>
            </a:r>
            <a:endParaRPr lang="en-US" sz="12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81762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96A2360-2B0B-43E4-80A6-0D2345FBF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38" y="3005693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b="1" dirty="0">
                <a:latin typeface="Sylfaen" panose="010A0502050306030303" pitchFamily="18" charset="0"/>
              </a:rPr>
              <a:t>В слайдах 6-32 представлены примеры </a:t>
            </a:r>
            <a:r>
              <a:rPr lang="ru-RU" b="1" u="sng" dirty="0">
                <a:latin typeface="Sylfaen" panose="010A0502050306030303" pitchFamily="18" charset="0"/>
              </a:rPr>
              <a:t>ключевых тезисов</a:t>
            </a:r>
            <a:r>
              <a:rPr lang="ru-RU" dirty="0">
                <a:latin typeface="Sylfaen" panose="010A0502050306030303" pitchFamily="18" charset="0"/>
              </a:rPr>
              <a:t> </a:t>
            </a:r>
            <a:r>
              <a:rPr lang="ru-RU" b="1" dirty="0">
                <a:latin typeface="Sylfaen" panose="010A0502050306030303" pitchFamily="18" charset="0"/>
              </a:rPr>
              <a:t>и </a:t>
            </a:r>
            <a:r>
              <a:rPr lang="ru-RU" b="1" u="sng" dirty="0">
                <a:latin typeface="Sylfaen" panose="010A0502050306030303" pitchFamily="18" charset="0"/>
              </a:rPr>
              <a:t>данных</a:t>
            </a:r>
            <a:r>
              <a:rPr lang="ru-RU" b="1" dirty="0">
                <a:latin typeface="Sylfaen" panose="010A0502050306030303" pitchFamily="18" charset="0"/>
              </a:rPr>
              <a:t> для поддержки инвестиций, вкладываемых в иммунизацию, с трех точек зрения: </a:t>
            </a:r>
            <a:br>
              <a:rPr lang="en-US" b="1" dirty="0">
                <a:latin typeface="Sylfaen" panose="010A0502050306030303" pitchFamily="18" charset="0"/>
              </a:rPr>
            </a:br>
            <a:br>
              <a:rPr lang="en-US" b="1" dirty="0">
                <a:latin typeface="Sylfaen" panose="010A0502050306030303" pitchFamily="18" charset="0"/>
              </a:rPr>
            </a:br>
            <a:r>
              <a:rPr lang="ru-RU" b="1" dirty="0">
                <a:latin typeface="Sylfaen" panose="010A0502050306030303" pitchFamily="18" charset="0"/>
              </a:rPr>
              <a:t>ЗДОРОВЬЕ, ЭКОНОМИЧЕСКИЙ РОСТ И ЭФФЕКТИВНОСТЬ</a:t>
            </a:r>
            <a:endParaRPr lang="en-US" b="1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5E702-73A9-4F53-B7AF-D9E4C88915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5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76794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196835AC-3E06-43BA-9501-4A0B093D3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92" y="2615897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Если те кто, принимает у вас решения, больше всего заинтересованы в улучшении ЗДОРОВЬЯ И ВЫЖИВАНИЯ РЕБЕНКА </a:t>
            </a:r>
            <a:endParaRPr lang="en-US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30654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4AF17-3D39-48CF-86F9-2C11697EF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80068"/>
            <a:ext cx="7370064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Иммунизация ведет к улучшению здоровья и уменьшению смертности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42A217-3291-48CD-9509-8EA024820A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3209" y="1053778"/>
            <a:ext cx="8620425" cy="4382999"/>
          </a:xfrm>
        </p:spPr>
        <p:txBody>
          <a:bodyPr>
            <a:no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Сегодня иммунизация от смертельных заболеваний уже предотвращает от 2 до 3 миллионов смертей ежегодно. Еще больше жизней можно было бы спасти в случае еще большего охвата существующими вакцинами. Большинство из этих спасенных жизней - дети.</a:t>
            </a:r>
            <a:endParaRPr lang="en-US" dirty="0">
              <a:latin typeface="Sylfaen" panose="010A0502050306030303" pitchFamily="18" charset="0"/>
            </a:endParaRPr>
          </a:p>
          <a:p>
            <a:endParaRPr lang="en-US" sz="500" dirty="0">
              <a:solidFill>
                <a:srgbClr val="FF0000"/>
              </a:solidFill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Будет продолжаться разработка</a:t>
            </a:r>
            <a:r>
              <a:rPr lang="ru-RU" dirty="0">
                <a:solidFill>
                  <a:srgbClr val="FF0000"/>
                </a:solidFill>
                <a:latin typeface="Sylfaen" panose="010A0502050306030303" pitchFamily="18" charset="0"/>
              </a:rPr>
              <a:t> </a:t>
            </a:r>
            <a:r>
              <a:rPr lang="ru-RU" dirty="0">
                <a:latin typeface="Sylfaen" panose="010A0502050306030303" pitchFamily="18" charset="0"/>
              </a:rPr>
              <a:t>новых, спасающих жизни вакцин, которые будут важны для нашей страны.</a:t>
            </a:r>
          </a:p>
          <a:p>
            <a:endParaRPr lang="ru-RU" sz="10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Иммунизация может сделать возможной полное искоренение опасных болезней</a:t>
            </a:r>
            <a:r>
              <a:rPr lang="en-US" dirty="0">
                <a:latin typeface="Sylfaen" panose="010A0502050306030303" pitchFamily="18" charset="0"/>
              </a:rPr>
              <a:t>. </a:t>
            </a:r>
          </a:p>
          <a:p>
            <a:endParaRPr lang="en-US" sz="8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Например, она привела к искоренению оспы в 1979 году и благодаря ей недалеко и искоренение полиомиелита - в 1988 году ежегодно было зарегистрировано 350 000 новых случаев (дикого полиомиелита), и эта цифра снизилось до 37 к 2016 году и до 16 в 2017 году (по состоянию на 4 декабря 2017 года).</a:t>
            </a:r>
            <a:r>
              <a:rPr lang="en-US" dirty="0">
                <a:latin typeface="Sylfaen" panose="010A0502050306030303" pitchFamily="18" charset="0"/>
              </a:rPr>
              <a:t>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7814AE-5FB9-4A71-B87B-CB2D2042F6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7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1DE34B-17EC-4F6B-A5A3-64019551EE0F}"/>
              </a:ext>
            </a:extLst>
          </p:cNvPr>
          <p:cNvSpPr txBox="1"/>
          <p:nvPr/>
        </p:nvSpPr>
        <p:spPr>
          <a:xfrm>
            <a:off x="1958985" y="5917275"/>
            <a:ext cx="599263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ylfaen" panose="010A0502050306030303" pitchFamily="18" charset="0"/>
                <a:hlinkClick r:id="rId2"/>
              </a:rPr>
              <a:t>http://polioeradication.org/polio-today/polio-now/</a:t>
            </a:r>
            <a:endParaRPr lang="en-US" sz="1400" dirty="0">
              <a:latin typeface="Sylfaen" panose="010A0502050306030303" pitchFamily="18" charset="0"/>
            </a:endParaRPr>
          </a:p>
          <a:p>
            <a:r>
              <a:rPr lang="en-US" sz="1400" dirty="0">
                <a:latin typeface="Sylfaen" panose="010A0502050306030303" pitchFamily="18" charset="0"/>
                <a:hlinkClick r:id="rId3"/>
              </a:rPr>
              <a:t>http://www.who.int/campaigns/immunization-week/2017/infographic/en/</a:t>
            </a:r>
            <a:endParaRPr lang="en-US" sz="1400" dirty="0">
              <a:latin typeface="Sylfaen" panose="010A0502050306030303" pitchFamily="18" charset="0"/>
            </a:endParaRPr>
          </a:p>
          <a:p>
            <a:r>
              <a:rPr lang="en-US" sz="1400" dirty="0">
                <a:latin typeface="Sylfaen" panose="010A0502050306030303" pitchFamily="18" charset="0"/>
                <a:hlinkClick r:id="rId4"/>
              </a:rPr>
              <a:t>http://www.who.int/csr/disease/smallpox/en/</a:t>
            </a:r>
            <a:endParaRPr lang="en-US" sz="1400" dirty="0">
              <a:latin typeface="Sylfaen" panose="010A0502050306030303" pitchFamily="18" charset="0"/>
            </a:endParaRPr>
          </a:p>
          <a:p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7123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C8CB87-6829-4089-B3B4-74C0EF654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82395" cy="1092526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Иммунизация является отправной точкой предоставления медицинских услуг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C57A51-8D39-4F49-91E0-BECADCE3C0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7438"/>
            <a:ext cx="8072323" cy="4688869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20000"/>
              </a:lnSpc>
            </a:pPr>
            <a:r>
              <a:rPr lang="ru-RU" sz="2400" dirty="0">
                <a:latin typeface="Sylfaen" panose="010A0502050306030303" pitchFamily="18" charset="0"/>
              </a:rPr>
              <a:t>Схема иммунизации требует несколько точек контакта матери и ребенка с медучреждением, особенно в первый год жизни</a:t>
            </a:r>
          </a:p>
          <a:p>
            <a:pPr marL="457200" lvl="1" indent="0">
              <a:lnSpc>
                <a:spcPct val="120000"/>
              </a:lnSpc>
              <a:buNone/>
            </a:pPr>
            <a:endParaRPr lang="en-US" sz="13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r>
              <a:rPr lang="ru-RU" sz="2400" dirty="0">
                <a:latin typeface="Sylfaen" panose="010A0502050306030303" pitchFamily="18" charset="0"/>
              </a:rPr>
              <a:t>Например, вакцины  скоро после рождения, на 6 неделе, на 8 неделе, на 10 неделе, на 14 неделе жизни, на 6 месяце, 9 месяце, 12 месяце</a:t>
            </a:r>
          </a:p>
          <a:p>
            <a:pPr marL="0" indent="0">
              <a:lnSpc>
                <a:spcPct val="120000"/>
              </a:lnSpc>
              <a:buNone/>
            </a:pPr>
            <a:endParaRPr lang="en-US" sz="8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r>
              <a:rPr lang="ru-RU" sz="2400" dirty="0">
                <a:latin typeface="Sylfaen" panose="010A0502050306030303" pitchFamily="18" charset="0"/>
              </a:rPr>
              <a:t>Иммунизация представляет собой платформу для интеграции других служб здравоохранения, включая, например, витамин А, дегельминтизацию, планирование семьи</a:t>
            </a:r>
            <a:endParaRPr lang="en-US" sz="24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endParaRPr lang="en-US" sz="9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r>
              <a:rPr lang="ru-RU" sz="2400" dirty="0">
                <a:latin typeface="Sylfaen" panose="010A0502050306030303" pitchFamily="18" charset="0"/>
              </a:rPr>
              <a:t>Услуги по иммунизации основаны на сильных услугах первичной медико-санитарной помощи</a:t>
            </a:r>
            <a:endParaRPr lang="en-US" sz="2400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en-US" dirty="0">
              <a:latin typeface="Sylfaen" panose="010A0502050306030303" pitchFamily="18" charset="0"/>
            </a:endParaRPr>
          </a:p>
          <a:p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3B9C3C-B9A7-479D-9A22-E1086B555A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8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E4A9093B-8CE4-4B11-A374-A47048E1E79E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778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06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F93A2-3585-462A-8475-29B6DE3FE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138160" cy="771436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имер - иммунизация вызвала искоренение черной оспы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3C98C1-86C9-4CCB-808F-3FDAEA0C7578}"/>
              </a:ext>
            </a:extLst>
          </p:cNvPr>
          <p:cNvSpPr txBox="1"/>
          <p:nvPr/>
        </p:nvSpPr>
        <p:spPr>
          <a:xfrm>
            <a:off x="4255287" y="917016"/>
            <a:ext cx="443151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Sylfaen" panose="010A0502050306030303" pitchFamily="18" charset="0"/>
              </a:rPr>
              <a:t>Черная оспа является разрушительной болезнью. В среднем умирало 3 из 10 человек, заразившихся черной оспой. Черная оспа, возможно, была ответственна за 300 миллионов смертей в 20 веке.</a:t>
            </a:r>
            <a:endParaRPr lang="en-US" sz="1600" dirty="0">
              <a:latin typeface="Sylfaen" panose="010A0502050306030303" pitchFamily="18" charset="0"/>
            </a:endParaRPr>
          </a:p>
          <a:p>
            <a:r>
              <a:rPr lang="en-US" sz="1600" dirty="0">
                <a:latin typeface="Sylfaen" panose="010A0502050306030303" pitchFamily="18" charset="0"/>
              </a:rPr>
              <a:t> </a:t>
            </a:r>
          </a:p>
          <a:p>
            <a:r>
              <a:rPr lang="ru-RU" sz="1600" dirty="0">
                <a:latin typeface="Sylfaen" panose="010A0502050306030303" pitchFamily="18" charset="0"/>
              </a:rPr>
              <a:t>Последний известный естественный случай черной оспы имел место в Сомали в 1977 году. Болезнь была объявлена ликвидированной в 1980 году после осуществления продолжительной глобальной программы по ее искоренению.</a:t>
            </a:r>
          </a:p>
          <a:p>
            <a:endParaRPr lang="en-US" sz="1600" dirty="0">
              <a:latin typeface="Sylfaen" panose="010A0502050306030303" pitchFamily="18" charset="0"/>
            </a:endParaRPr>
          </a:p>
          <a:p>
            <a:r>
              <a:rPr lang="ru-RU" sz="1600" dirty="0">
                <a:latin typeface="Sylfaen" panose="010A0502050306030303" pitchFamily="18" charset="0"/>
              </a:rPr>
              <a:t>Искоренение болезни не всегда возможно, но когда оно возможно, это дает дополнительное преимущество странам, которым больше не нужно тратить на ресурсы на контроль болезни.</a:t>
            </a:r>
            <a:endParaRPr lang="en-US" sz="1600" dirty="0">
              <a:latin typeface="Sylfaen" panose="010A0502050306030303" pitchFamily="18" charset="0"/>
            </a:endParaRPr>
          </a:p>
        </p:txBody>
      </p:sp>
      <p:pic>
        <p:nvPicPr>
          <p:cNvPr id="19" name="Content Placeholder 18" descr="Young girl in Bangladesh infected with smallpox in 1973&#10;">
            <a:extLst>
              <a:ext uri="{FF2B5EF4-FFF2-40B4-BE49-F238E27FC236}">
                <a16:creationId xmlns:a16="http://schemas.microsoft.com/office/drawing/2014/main" id="{5390E353-D9A9-49EC-883B-729EBB1392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81" y="953306"/>
            <a:ext cx="3077725" cy="4689869"/>
          </a:xfr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E0BA195-F1D8-423C-9A88-C0CC789C35CC}"/>
              </a:ext>
            </a:extLst>
          </p:cNvPr>
          <p:cNvSpPr txBox="1"/>
          <p:nvPr/>
        </p:nvSpPr>
        <p:spPr>
          <a:xfrm>
            <a:off x="2007533" y="5979117"/>
            <a:ext cx="634597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100" dirty="0">
                <a:latin typeface="Sylfaen" panose="010A0502050306030303" pitchFamily="18" charset="0"/>
              </a:rPr>
              <a:t>Фото: девочка из Бангладеша, зараженная оспой в 1973 году</a:t>
            </a:r>
            <a:endParaRPr lang="en-US" sz="1100" dirty="0">
              <a:latin typeface="Sylfaen" panose="010A0502050306030303" pitchFamily="18" charset="0"/>
            </a:endParaRPr>
          </a:p>
          <a:p>
            <a:r>
              <a:rPr lang="ru-RU" sz="1100" dirty="0">
                <a:latin typeface="Sylfaen" panose="010A0502050306030303" pitchFamily="18" charset="0"/>
              </a:rPr>
              <a:t>Источник фотографии </a:t>
            </a:r>
            <a:r>
              <a:rPr lang="en-US" sz="1100" dirty="0">
                <a:latin typeface="Sylfaen" panose="010A0502050306030303" pitchFamily="18" charset="0"/>
              </a:rPr>
              <a:t>CDC/</a:t>
            </a:r>
            <a:r>
              <a:rPr lang="ru-RU" sz="1100" dirty="0">
                <a:latin typeface="Sylfaen" panose="010A0502050306030303" pitchFamily="18" charset="0"/>
              </a:rPr>
              <a:t> Джеймс </a:t>
            </a:r>
            <a:r>
              <a:rPr lang="ru-RU" sz="1100" dirty="0" err="1">
                <a:latin typeface="Sylfaen" panose="010A0502050306030303" pitchFamily="18" charset="0"/>
              </a:rPr>
              <a:t>Хикс</a:t>
            </a:r>
            <a:r>
              <a:rPr lang="en-US" sz="1100" dirty="0">
                <a:latin typeface="Sylfaen" panose="010A0502050306030303" pitchFamily="18" charset="0"/>
              </a:rPr>
              <a:t>, </a:t>
            </a:r>
            <a:r>
              <a:rPr lang="ru-RU" sz="1100" dirty="0">
                <a:latin typeface="Sylfaen" panose="010A0502050306030303" pitchFamily="18" charset="0"/>
              </a:rPr>
              <a:t>общественное достояние, через </a:t>
            </a:r>
            <a:r>
              <a:rPr lang="ru-RU" sz="1100" dirty="0" err="1">
                <a:latin typeface="Sylfaen" panose="010A0502050306030303" pitchFamily="18" charset="0"/>
              </a:rPr>
              <a:t>Wikimedia</a:t>
            </a:r>
            <a:r>
              <a:rPr lang="ru-RU" sz="1100" dirty="0">
                <a:latin typeface="Sylfaen" panose="010A0502050306030303" pitchFamily="18" charset="0"/>
              </a:rPr>
              <a:t> </a:t>
            </a:r>
            <a:r>
              <a:rPr lang="ru-RU" sz="1100" dirty="0" err="1">
                <a:latin typeface="Sylfaen" panose="010A0502050306030303" pitchFamily="18" charset="0"/>
              </a:rPr>
              <a:t>Commons</a:t>
            </a:r>
            <a:r>
              <a:rPr lang="ru-RU" sz="1100" dirty="0">
                <a:latin typeface="Sylfaen" panose="010A0502050306030303" pitchFamily="18" charset="0"/>
              </a:rPr>
              <a:t>: </a:t>
            </a:r>
            <a:r>
              <a:rPr lang="en-US" sz="1100" dirty="0">
                <a:latin typeface="Sylfaen" panose="010A0502050306030303" pitchFamily="18" charset="0"/>
              </a:rPr>
              <a:t> </a:t>
            </a:r>
            <a:r>
              <a:rPr lang="en-US" sz="1100" dirty="0">
                <a:latin typeface="Sylfaen" panose="010A0502050306030303" pitchFamily="18" charset="0"/>
                <a:hlinkClick r:id="rId3"/>
              </a:rPr>
              <a:t>http://www.who.int/csr/disease/smallpox/en/</a:t>
            </a:r>
            <a:endParaRPr lang="en-US" sz="1100" dirty="0">
              <a:latin typeface="Sylfaen" panose="010A0502050306030303" pitchFamily="18" charset="0"/>
            </a:endParaRPr>
          </a:p>
          <a:p>
            <a:endParaRPr lang="en-US" sz="1100" dirty="0">
              <a:latin typeface="Sylfaen" panose="010A0502050306030303" pitchFamily="18" charset="0"/>
            </a:endParaRPr>
          </a:p>
          <a:p>
            <a:endParaRPr lang="en-US" sz="1100" dirty="0">
              <a:latin typeface="Sylfaen" panose="010A0502050306030303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8817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D1DF2435BB006A4EB48DC2F170205CA1" ma:contentTypeVersion="4" ma:contentTypeDescription="Create a new document." ma:contentTypeScope="" ma:versionID="4ceb07d3f29f4f75ed2a9e5554d44026">
  <xsd:schema xmlns:xsd="http://www.w3.org/2001/XMLSchema" xmlns:xs="http://www.w3.org/2001/XMLSchema" xmlns:p="http://schemas.microsoft.com/office/2006/metadata/properties" xmlns:ns2="2af4539b-39f3-4771-ac1a-16de5a20c394" targetNamespace="http://schemas.microsoft.com/office/2006/metadata/properties" ma:root="true" ma:fieldsID="0738113eb48008679cdea5f3923427d1" ns2:_="">
    <xsd:import namespace="2af4539b-39f3-4771-ac1a-16de5a20c394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-1;#Communications|d8600aaf-13ee-4a11-996f-f272b3ac4916" ma:fieldId="{4d16009d-c514-44af-92aa-78db77815af5}" ma:taxonomyMulti="true" ma:sspId="99a65aa6-ac8d-46e4-9aa8-b40f8e8101fc" ma:termSetId="a91bfab0-4954-4226-aefc-bfb9268498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8</Value>
    </TaxCatchAll>
  </documentManagement>
</p:properties>
</file>

<file path=customXml/itemProps1.xml><?xml version="1.0" encoding="utf-8"?>
<ds:datastoreItem xmlns:ds="http://schemas.openxmlformats.org/officeDocument/2006/customXml" ds:itemID="{CB09E880-9EA9-4D12-BE04-9D0443764B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f4539b-39f3-4771-ac1a-16de5a20c3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8F70BE-E4CC-4D73-8BA0-08FE658F0A9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af4539b-39f3-4771-ac1a-16de5a20c39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420</TotalTime>
  <Words>4867</Words>
  <Application>Microsoft Office PowerPoint</Application>
  <PresentationFormat>On-screen Show (4:3)</PresentationFormat>
  <Paragraphs>527</Paragraphs>
  <Slides>4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56" baseType="lpstr">
      <vt:lpstr>Arial</vt:lpstr>
      <vt:lpstr>Calibri</vt:lpstr>
      <vt:lpstr>Museo Sans 300</vt:lpstr>
      <vt:lpstr>Museo Slab 300</vt:lpstr>
      <vt:lpstr>Sylfaen</vt:lpstr>
      <vt:lpstr>Wingdings</vt:lpstr>
      <vt:lpstr>R4D_StandardTemplate_MAC</vt:lpstr>
      <vt:lpstr>think-cell Slide</vt:lpstr>
      <vt:lpstr>Рассказывая историю - почему инвестирование в иммунизацию является приоритетом для нашей страны</vt:lpstr>
      <vt:lpstr>Назначение презентации</vt:lpstr>
      <vt:lpstr>Почему иммунизация является важной инвестицией?</vt:lpstr>
      <vt:lpstr>Почему потребность в иммунизации может увеличиться со временем?</vt:lpstr>
      <vt:lpstr>В слайдах 6-32 представлены примеры ключевых тезисов и данных для поддержки инвестиций, вкладываемых в иммунизацию, с трех точек зрения:   ЗДОРОВЬЕ, ЭКОНОМИЧЕСКИЙ РОСТ И ЭФФЕКТИВНОСТЬ</vt:lpstr>
      <vt:lpstr>Если те кто, принимает у вас решения, больше всего заинтересованы в улучшении ЗДОРОВЬЯ И ВЫЖИВАНИЯ РЕБЕНКА </vt:lpstr>
      <vt:lpstr>Иммунизация ведет к улучшению здоровья и уменьшению смертности</vt:lpstr>
      <vt:lpstr>Иммунизация является отправной точкой предоставления медицинских услуг</vt:lpstr>
      <vt:lpstr>Пример - иммунизация вызвала искоренение черной оспы</vt:lpstr>
      <vt:lpstr>Пример: вакцина против кори привела к 99%-ному сокращению случаев кори по сравнению с периодом до вакцинации</vt:lpstr>
      <vt:lpstr>Пример: случаи полиомиелита упали на 99% с 1988 года</vt:lpstr>
      <vt:lpstr>Использование данных для поддержки придания приоритетного значения здравоохранению в рамках государственного бюджета и придания приоритетного значения ПМСП в рамках здравоохранения</vt:lpstr>
      <vt:lpstr>Иллюстрация: «Наша страна отстает по инвестированию в здравоохранение»</vt:lpstr>
      <vt:lpstr>Иллюстрация: «Наша страна отстает по инвестированию в здравоохранение»</vt:lpstr>
      <vt:lpstr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vt:lpstr>
      <vt:lpstr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vt:lpstr>
      <vt:lpstr>Примеры из стран УССПП по использованию данных для демонстрации того, что иммунизация в их странах дает очевидные результаты </vt:lpstr>
      <vt:lpstr>Подкрепляющие сведения из литературных источников</vt:lpstr>
      <vt:lpstr>Если те кто, принимает у вас решения, больше всего заинтересованы в ЭКОНОМИЧЕСКОМ РОСТЕ И СНИЖЕНИИ УРОВНЯ БЕДНОСТИ</vt:lpstr>
      <vt:lpstr>Иммунизация приносит большие экономические выгоды</vt:lpstr>
      <vt:lpstr>Иммунизация ведет к улучшению познания, уровня образования и питания</vt:lpstr>
      <vt:lpstr>Иммунизация является медицинской помощью, ориентированной на нужды малоимущих</vt:lpstr>
      <vt:lpstr>Иммунизация является основным компонентом прогресса в направлении всеобщего охвата здравоохранением (UHC)</vt:lpstr>
      <vt:lpstr>Сильные программы иммунизации являются платформой для обеспечения готовности к пандемии (1/2)</vt:lpstr>
      <vt:lpstr>Сильные программы иммунизации являются платформой для обеспечения готовности к пандемии (2/2)</vt:lpstr>
      <vt:lpstr>Использование данных для демонстрации того, что иммунизация в вашей стране дает очевидные экономические результаты (и что многое еще нужно сделать)</vt:lpstr>
      <vt:lpstr>Если те кто, принимает у вас решения, больше всего заинтересованы в повышении ЭФФЕКТИВНОСТИ И ЭКОНОМИЧНОСТИ</vt:lpstr>
      <vt:lpstr>Иммунизация - лучшая покупка для здоровья и она дает очевидные результаты, но нужно сделать еще больше (1 из 2)</vt:lpstr>
      <vt:lpstr>Иммунизация – лучшая инвестиция и она дает очевидные результаты, но нужно сделать еще больше (2 из 2)</vt:lpstr>
      <vt:lpstr>Иммунизация ведет к сокращению будущей бремени на систему здравоохранения</vt:lpstr>
      <vt:lpstr>Программы иммунизации - это больше, чем финансирование вакцин - нам необходимо полностью финансировать операционные расходы программ и стратегий доставки</vt:lpstr>
      <vt:lpstr>Использование данных для демонстрации того, что иммунизация в вашей стране дает очевидные экономические результаты (и что многое еще нужно сделать)</vt:lpstr>
      <vt:lpstr>Ключевые тезиы по поддержке конкретных инвестиционных потребностей иммунизации в различных ситуациях</vt:lpstr>
      <vt:lpstr>Ситуации, в которых можно будет извлечь выгоду из конкретных тезисов по поддержке инвестиций</vt:lpstr>
      <vt:lpstr>Представление требований перехода GAVI лицам, принимающим решения</vt:lpstr>
      <vt:lpstr>Представление инвестиционных требований для холодовой цепи лицам, принимающим решения</vt:lpstr>
      <vt:lpstr>Представление доказательств в пользу введения новой вакцины лицам, принимающим решения</vt:lpstr>
      <vt:lpstr>Представление доказательств в пользу своевременного выделения бюджета на закупку вакцин</vt:lpstr>
      <vt:lpstr>Представление лицам, принимающим решения, доказательств увеличения финансирования для улучшения охвата/справедливости распределения</vt:lpstr>
      <vt:lpstr>Нам необходимо достичь высокого охвата, чтобы остановить распространение инфекционных заболеваний: как вакцины защищают наше население</vt:lpstr>
      <vt:lpstr>Низкий охват означает, что инфекционная болезнь может быстро распространяться среди населения</vt:lpstr>
      <vt:lpstr>Предоставление доказательств в пользу поддержания приверженности и финансирования в долгосрочной перспективе... </vt:lpstr>
      <vt:lpstr>Представление доказательств безопасности вакцин лицам, принимающим решения</vt:lpstr>
      <vt:lpstr>Групповая работа</vt:lpstr>
      <vt:lpstr>Команды  стран сотрудничают друг с другом, чтобы разработать презентацию для убедительного обоснования инвестиций</vt:lpstr>
      <vt:lpstr>Помните!</vt:lpstr>
      <vt:lpstr>Дополнительные слайды</vt:lpstr>
      <vt:lpstr>Низкий охват - как вакцины защищают наше населени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Candice Hwang</cp:lastModifiedBy>
  <cp:revision>409</cp:revision>
  <cp:lastPrinted>2017-10-25T18:40:38Z</cp:lastPrinted>
  <dcterms:created xsi:type="dcterms:W3CDTF">2013-09-25T20:04:22Z</dcterms:created>
  <dcterms:modified xsi:type="dcterms:W3CDTF">2017-12-14T17:4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D1DF2435BB006A4EB48DC2F170205CA1</vt:lpwstr>
  </property>
  <property fmtid="{D5CDD505-2E9C-101B-9397-08002B2CF9AE}" pid="3" name="OW-Topics">
    <vt:lpwstr>8;#Communications|d8600aaf-13ee-4a11-996f-f272b3ac4916</vt:lpwstr>
  </property>
</Properties>
</file>